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drawings/drawing2.xml" ContentType="application/vnd.openxmlformats-officedocument.drawingml.chartshape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charts/colors2.xml" ContentType="application/vnd.ms-office.chartcolorstyl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diagrams/layout1.xml" ContentType="application/vnd.openxmlformats-officedocument.drawingml.diagramLayout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tags/tag7.xml" ContentType="application/vnd.openxmlformats-officedocument.presentationml.tags+xml"/>
  <Override PartName="/ppt/drawings/drawing3.xml" ContentType="application/vnd.openxmlformats-officedocument.drawingml.chartshapes+xml"/>
  <Override PartName="/ppt/charts/style1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Default Extension="wdp" ContentType="image/vnd.ms-photo"/>
  <Override PartName="/ppt/charts/colors1.xml" ContentType="application/vnd.ms-office.chartcolorstyle+xml"/>
  <Override PartName="/ppt/slideLayouts/slideLayout10.xml" ContentType="application/vnd.openxmlformats-officedocument.presentationml.slideLayout+xml"/>
  <Default Extension="gif" ContentType="image/gif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4" r:id="rId2"/>
    <p:sldMasterId id="2147483708" r:id="rId3"/>
  </p:sldMasterIdLst>
  <p:notesMasterIdLst>
    <p:notesMasterId r:id="rId23"/>
  </p:notesMasterIdLst>
  <p:handoutMasterIdLst>
    <p:handoutMasterId r:id="rId24"/>
  </p:handoutMasterIdLst>
  <p:sldIdLst>
    <p:sldId id="409" r:id="rId4"/>
    <p:sldId id="410" r:id="rId5"/>
    <p:sldId id="411" r:id="rId6"/>
    <p:sldId id="412" r:id="rId7"/>
    <p:sldId id="413" r:id="rId8"/>
    <p:sldId id="381" r:id="rId9"/>
    <p:sldId id="289" r:id="rId10"/>
    <p:sldId id="393" r:id="rId11"/>
    <p:sldId id="394" r:id="rId12"/>
    <p:sldId id="382" r:id="rId13"/>
    <p:sldId id="376" r:id="rId14"/>
    <p:sldId id="377" r:id="rId15"/>
    <p:sldId id="399" r:id="rId16"/>
    <p:sldId id="362" r:id="rId17"/>
    <p:sldId id="408" r:id="rId18"/>
    <p:sldId id="407" r:id="rId19"/>
    <p:sldId id="332" r:id="rId20"/>
    <p:sldId id="318" r:id="rId21"/>
    <p:sldId id="299" r:id="rId22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me" initials="h" lastIdx="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9933"/>
    <a:srgbClr val="008000"/>
    <a:srgbClr val="FF6600"/>
    <a:srgbClr val="800000"/>
    <a:srgbClr val="FF0000"/>
    <a:srgbClr val="CC0066"/>
    <a:srgbClr val="040202"/>
    <a:srgbClr val="FF3300"/>
    <a:srgbClr val="33CC33"/>
    <a:srgbClr val="5B9BD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97" autoAdjust="0"/>
    <p:restoredTop sz="94660"/>
  </p:normalViewPr>
  <p:slideViewPr>
    <p:cSldViewPr snapToGrid="0">
      <p:cViewPr varScale="1">
        <p:scale>
          <a:sx n="91" d="100"/>
          <a:sy n="91" d="100"/>
        </p:scale>
        <p:origin x="-1254" y="-114"/>
      </p:cViewPr>
      <p:guideLst>
        <p:guide orient="horz" pos="2160"/>
        <p:guide pos="384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&#1050;&#1085;&#1080;&#1075;&#1072;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auatova\Downloads\&#1044;&#1086;&#1073;&#1099;&#1095;&#1072;%20&#1087;&#1086;%20&#1050;&#1086;&#1085;&#1090;&#1088;&#1072;&#1082;&#1090;&#1072;&#1084;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aalimzhan\AppData\Local\Microsoft\Windows\Temporary%20Internet%20Files\Content.Outlook\X1IKDAX5\S-D%20(2)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Users\yemendibayev\AppData\Local\Microsoft\Windows\Temporary%20Internet%20Files\Content.Outlook\Y7HDO0JK\2011-2016%20(2)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aalimzhan\AppData\Local\Microsoft\Windows\Temporary%20Internet%20Files\Content.Outlook\X1IKDAX5\&#1087;&#1088;&#1086;&#1075;&#1085;&#1086;&#1079;%20&#1079;&#1072;&#1087;&#1072;&#1089;&#1099;%20&#1089;&#1083;&#1072;&#1081;&#1076;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G:\&#1040;&#1090;&#1086;&#1084;&#1085;&#1072;&#1103;%20&#1101;&#1085;&#1077;&#1088;&#1075;&#1077;&#1090;&#1080;&#1082;&#1072;%20&#1080;%20&#1087;&#1088;&#1086;&#1084;&#1099;&#1096;&#1083;&#1077;&#1085;&#1085;&#1086;&#1089;&#1090;&#1100;%2026-04-2017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depthPercent val="100"/>
      <c:perspective val="30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7.7803698897887685E-2"/>
          <c:y val="0"/>
          <c:w val="0.8296839069791051"/>
          <c:h val="0.64197378826806628"/>
        </c:manualLayout>
      </c:layout>
      <c:pie3DChart>
        <c:varyColors val="1"/>
        <c:ser>
          <c:idx val="0"/>
          <c:order val="0"/>
          <c:dPt>
            <c:idx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</c:dPt>
          <c:dPt>
            <c:idx val="1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</c:dPt>
          <c:dPt>
            <c:idx val="2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</c:dPt>
          <c:dPt>
            <c:idx val="3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</c:dPt>
          <c:dPt>
            <c:idx val="4"/>
            <c:spPr>
              <a:gradFill flip="none" rotWithShape="1">
                <a:gsLst>
                  <a:gs pos="0">
                    <a:srgbClr val="0070C0">
                      <a:shade val="30000"/>
                      <a:satMod val="115000"/>
                    </a:srgbClr>
                  </a:gs>
                  <a:gs pos="50000">
                    <a:srgbClr val="0070C0">
                      <a:shade val="67500"/>
                      <a:satMod val="115000"/>
                    </a:srgbClr>
                  </a:gs>
                  <a:gs pos="100000">
                    <a:srgbClr val="0070C0">
                      <a:shade val="100000"/>
                      <a:satMod val="115000"/>
                    </a:srgbClr>
                  </a:gs>
                </a:gsLst>
                <a:lin ang="8100000" scaled="1"/>
                <a:tileRect/>
              </a:gradFill>
              <a:ln>
                <a:noFill/>
              </a:ln>
              <a:effectLst/>
              <a:sp3d/>
            </c:spPr>
          </c:dPt>
          <c:dPt>
            <c:idx val="5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</c:dPt>
          <c:dLbls>
            <c:dLbl>
              <c:idx val="0"/>
              <c:layout>
                <c:manualLayout>
                  <c:x val="-0.22014296299661476"/>
                  <c:y val="-9.5947352268837494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>
                    <c:manualLayout>
                      <c:w val="0.24367123210416905"/>
                      <c:h val="0.12541676339013458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4.6849754130590407E-2"/>
                  <c:y val="-0.20815368998390785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4411221482986528"/>
                  <c:y val="0.11017130873737509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7.8549766592428578E-3"/>
                  <c:y val="-9.5730658913051204E-3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1.1201589605902378E-2"/>
                  <c:y val="-3.3195297468927194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9.7490721737663349E-2"/>
                  <c:y val="-1.223220714429043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1:$A$6</c:f>
              <c:strCache>
                <c:ptCount val="6"/>
                <c:pt idx="0">
                  <c:v>Шу-Сарысуйская</c:v>
                </c:pt>
                <c:pt idx="1">
                  <c:v>Сырдаринская</c:v>
                </c:pt>
                <c:pt idx="2">
                  <c:v>Северо-Казахстанская</c:v>
                </c:pt>
                <c:pt idx="3">
                  <c:v>Илийская</c:v>
                </c:pt>
                <c:pt idx="4">
                  <c:v>Прикаспийская</c:v>
                </c:pt>
                <c:pt idx="5">
                  <c:v>Прибалхашская</c:v>
                </c:pt>
              </c:strCache>
            </c:strRef>
          </c:cat>
          <c:val>
            <c:numRef>
              <c:f>Лист1!$B$1:$B$6</c:f>
              <c:numCache>
                <c:formatCode>0.00%</c:formatCode>
                <c:ptCount val="6"/>
                <c:pt idx="0">
                  <c:v>0.60100000000000009</c:v>
                </c:pt>
                <c:pt idx="1">
                  <c:v>0.15200000000000002</c:v>
                </c:pt>
                <c:pt idx="2">
                  <c:v>0.17300000000000001</c:v>
                </c:pt>
                <c:pt idx="3">
                  <c:v>4.7000000000000014E-2</c:v>
                </c:pt>
                <c:pt idx="4">
                  <c:v>1.8000000000000002E-2</c:v>
                </c:pt>
                <c:pt idx="5">
                  <c:v>8.0000000000000019E-3</c:v>
                </c:pt>
              </c:numCache>
            </c:numRef>
          </c:val>
        </c:ser>
        <c:dLbls/>
      </c:pie3DChart>
      <c:spPr>
        <a:noFill/>
        <a:ln>
          <a:noFill/>
        </a:ln>
        <a:effectLst/>
      </c:spPr>
    </c:plotArea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depthPercent val="100"/>
      <c:rAngAx val="1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ser>
          <c:idx val="0"/>
          <c:order val="0"/>
          <c:spPr>
            <a:gradFill>
              <a:gsLst>
                <a:gs pos="100000">
                  <a:schemeClr val="accent1">
                    <a:alpha val="0"/>
                  </a:schemeClr>
                </a:gs>
                <a:gs pos="50000">
                  <a:schemeClr val="accent1"/>
                </a:gs>
              </a:gsLst>
              <a:lin ang="5400000" scaled="0"/>
            </a:gradFill>
            <a:ln>
              <a:noFill/>
            </a:ln>
            <a:effectLst/>
            <a:sp3d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[Добыча по Контрактам.xlsx]2016'!$E$4:$X$4</c:f>
              <c:numCache>
                <c:formatCode>General</c:formatCode>
                <c:ptCount val="20"/>
                <c:pt idx="0">
                  <c:v>1997</c:v>
                </c:pt>
                <c:pt idx="1">
                  <c:v>1998</c:v>
                </c:pt>
                <c:pt idx="2">
                  <c:v>1999</c:v>
                </c:pt>
                <c:pt idx="3">
                  <c:v>2000</c:v>
                </c:pt>
                <c:pt idx="4">
                  <c:v>2001</c:v>
                </c:pt>
                <c:pt idx="5">
                  <c:v>2002</c:v>
                </c:pt>
                <c:pt idx="6">
                  <c:v>2003</c:v>
                </c:pt>
                <c:pt idx="7" formatCode="0">
                  <c:v>2004</c:v>
                </c:pt>
                <c:pt idx="8">
                  <c:v>2005</c:v>
                </c:pt>
                <c:pt idx="9">
                  <c:v>2006</c:v>
                </c:pt>
                <c:pt idx="10">
                  <c:v>2007</c:v>
                </c:pt>
                <c:pt idx="11">
                  <c:v>2008</c:v>
                </c:pt>
                <c:pt idx="12">
                  <c:v>2009</c:v>
                </c:pt>
                <c:pt idx="13">
                  <c:v>2010</c:v>
                </c:pt>
                <c:pt idx="14">
                  <c:v>2011</c:v>
                </c:pt>
                <c:pt idx="15">
                  <c:v>2012</c:v>
                </c:pt>
                <c:pt idx="16">
                  <c:v>2013</c:v>
                </c:pt>
                <c:pt idx="17">
                  <c:v>2014</c:v>
                </c:pt>
                <c:pt idx="18">
                  <c:v>2015</c:v>
                </c:pt>
                <c:pt idx="19">
                  <c:v>2016</c:v>
                </c:pt>
              </c:numCache>
            </c:numRef>
          </c:cat>
          <c:val>
            <c:numRef>
              <c:f>'[Добыча по Контрактам.xlsx]2016'!$E$43:$X$43</c:f>
              <c:numCache>
                <c:formatCode>0</c:formatCode>
                <c:ptCount val="20"/>
                <c:pt idx="0">
                  <c:v>892.6</c:v>
                </c:pt>
                <c:pt idx="1">
                  <c:v>1267.4000000000001</c:v>
                </c:pt>
                <c:pt idx="2">
                  <c:v>1554.3999999999999</c:v>
                </c:pt>
                <c:pt idx="3">
                  <c:v>1867.8</c:v>
                </c:pt>
                <c:pt idx="4">
                  <c:v>2106.6999999999998</c:v>
                </c:pt>
                <c:pt idx="5">
                  <c:v>2726.5</c:v>
                </c:pt>
                <c:pt idx="6">
                  <c:v>3153.3999999999996</c:v>
                </c:pt>
                <c:pt idx="7">
                  <c:v>3721.087</c:v>
                </c:pt>
                <c:pt idx="8">
                  <c:v>4346.0120000000015</c:v>
                </c:pt>
                <c:pt idx="9">
                  <c:v>5280.72</c:v>
                </c:pt>
                <c:pt idx="10">
                  <c:v>6632.9469999999992</c:v>
                </c:pt>
                <c:pt idx="11">
                  <c:v>8512.4480000000003</c:v>
                </c:pt>
                <c:pt idx="12">
                  <c:v>14020.151</c:v>
                </c:pt>
                <c:pt idx="13">
                  <c:v>17803.315999999995</c:v>
                </c:pt>
                <c:pt idx="14">
                  <c:v>19449.626</c:v>
                </c:pt>
                <c:pt idx="15">
                  <c:v>21239.547999999999</c:v>
                </c:pt>
                <c:pt idx="16">
                  <c:v>22500.618000000002</c:v>
                </c:pt>
                <c:pt idx="17">
                  <c:v>22829.357</c:v>
                </c:pt>
                <c:pt idx="18">
                  <c:v>23805.5</c:v>
                </c:pt>
                <c:pt idx="19">
                  <c:v>24689</c:v>
                </c:pt>
              </c:numCache>
            </c:numRef>
          </c:val>
        </c:ser>
        <c:dLbls/>
        <c:gapDepth val="0"/>
        <c:shape val="box"/>
        <c:axId val="88200320"/>
        <c:axId val="88201856"/>
        <c:axId val="0"/>
      </c:bar3DChart>
      <c:catAx>
        <c:axId val="8820032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201856"/>
        <c:crosses val="autoZero"/>
        <c:auto val="1"/>
        <c:lblAlgn val="ctr"/>
        <c:lblOffset val="100"/>
      </c:catAx>
      <c:valAx>
        <c:axId val="8820185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20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areaChart>
        <c:grouping val="standard"/>
        <c:ser>
          <c:idx val="0"/>
          <c:order val="0"/>
          <c:tx>
            <c:strRef>
              <c:f>Лист1!$A$5</c:f>
              <c:strCache>
                <c:ptCount val="1"/>
                <c:pt idx="0">
                  <c:v>Предложение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cat>
            <c:numRef>
              <c:f>Лист1!$B$1:$P$1</c:f>
              <c:numCache>
                <c:formatCode>General</c:formatCode>
                <c:ptCount val="1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  <c:pt idx="13">
                  <c:v>2029</c:v>
                </c:pt>
                <c:pt idx="14">
                  <c:v>2030</c:v>
                </c:pt>
              </c:numCache>
            </c:numRef>
          </c:cat>
          <c:val>
            <c:numRef>
              <c:f>Лист1!$B$5:$P$5</c:f>
              <c:numCache>
                <c:formatCode>General</c:formatCode>
                <c:ptCount val="15"/>
                <c:pt idx="0">
                  <c:v>79312.695799466033</c:v>
                </c:pt>
                <c:pt idx="1">
                  <c:v>81546.299100453194</c:v>
                </c:pt>
                <c:pt idx="2">
                  <c:v>82450.158084184804</c:v>
                </c:pt>
                <c:pt idx="3">
                  <c:v>84323.346706233468</c:v>
                </c:pt>
                <c:pt idx="4">
                  <c:v>83327.470759794829</c:v>
                </c:pt>
                <c:pt idx="5">
                  <c:v>78865.58818147656</c:v>
                </c:pt>
                <c:pt idx="6">
                  <c:v>73925.116675493991</c:v>
                </c:pt>
                <c:pt idx="7">
                  <c:v>74159.919275152715</c:v>
                </c:pt>
                <c:pt idx="8">
                  <c:v>72263.196031242856</c:v>
                </c:pt>
                <c:pt idx="9">
                  <c:v>73589.016038873233</c:v>
                </c:pt>
                <c:pt idx="10">
                  <c:v>72651.60302193246</c:v>
                </c:pt>
                <c:pt idx="11">
                  <c:v>72594.520352203413</c:v>
                </c:pt>
                <c:pt idx="12">
                  <c:v>70403.940945196358</c:v>
                </c:pt>
                <c:pt idx="13">
                  <c:v>70522.480575884882</c:v>
                </c:pt>
                <c:pt idx="14">
                  <c:v>68226.015579283106</c:v>
                </c:pt>
              </c:numCache>
            </c:numRef>
          </c:val>
        </c:ser>
        <c:dLbls/>
        <c:axId val="88165376"/>
        <c:axId val="88277760"/>
      </c:areaChart>
      <c:lineChart>
        <c:grouping val="standard"/>
        <c:ser>
          <c:idx val="1"/>
          <c:order val="1"/>
          <c:tx>
            <c:strRef>
              <c:f>Лист1!$A$6</c:f>
              <c:strCache>
                <c:ptCount val="1"/>
                <c:pt idx="0">
                  <c:v>Спрос</c:v>
                </c:pt>
              </c:strCache>
            </c:strRef>
          </c:tx>
          <c:spPr>
            <a:ln w="28575" cap="rnd">
              <a:solidFill>
                <a:srgbClr val="FF660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Лист1!$B$1:$P$1</c:f>
              <c:numCache>
                <c:formatCode>General</c:formatCode>
                <c:ptCount val="1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  <c:pt idx="12">
                  <c:v>2028</c:v>
                </c:pt>
                <c:pt idx="13">
                  <c:v>2029</c:v>
                </c:pt>
                <c:pt idx="14">
                  <c:v>2030</c:v>
                </c:pt>
              </c:numCache>
            </c:numRef>
          </c:cat>
          <c:val>
            <c:numRef>
              <c:f>Лист1!$B$6:$P$6</c:f>
              <c:numCache>
                <c:formatCode>General</c:formatCode>
                <c:ptCount val="15"/>
                <c:pt idx="0">
                  <c:v>63485.681688624987</c:v>
                </c:pt>
                <c:pt idx="1">
                  <c:v>66884.602737963869</c:v>
                </c:pt>
                <c:pt idx="2">
                  <c:v>68453.611481624772</c:v>
                </c:pt>
                <c:pt idx="3">
                  <c:v>70222.087708398583</c:v>
                </c:pt>
                <c:pt idx="4">
                  <c:v>68748.99546791405</c:v>
                </c:pt>
                <c:pt idx="5">
                  <c:v>68173.99033738389</c:v>
                </c:pt>
                <c:pt idx="6">
                  <c:v>70192.675940439425</c:v>
                </c:pt>
                <c:pt idx="7">
                  <c:v>72861.564414072272</c:v>
                </c:pt>
                <c:pt idx="8">
                  <c:v>76364.678559737309</c:v>
                </c:pt>
                <c:pt idx="9">
                  <c:v>76161.329380953714</c:v>
                </c:pt>
                <c:pt idx="10">
                  <c:v>77321.222517690141</c:v>
                </c:pt>
                <c:pt idx="11">
                  <c:v>81808.921331102698</c:v>
                </c:pt>
                <c:pt idx="12">
                  <c:v>83037.619031946873</c:v>
                </c:pt>
                <c:pt idx="13">
                  <c:v>84455.356486124962</c:v>
                </c:pt>
                <c:pt idx="14">
                  <c:v>86645.293112044732</c:v>
                </c:pt>
              </c:numCache>
            </c:numRef>
          </c:val>
        </c:ser>
        <c:dLbls/>
        <c:marker val="1"/>
        <c:axId val="88165376"/>
        <c:axId val="88277760"/>
      </c:lineChart>
      <c:catAx>
        <c:axId val="8816537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277760"/>
        <c:crosses val="autoZero"/>
        <c:auto val="1"/>
        <c:lblAlgn val="ctr"/>
        <c:lblOffset val="100"/>
      </c:catAx>
      <c:valAx>
        <c:axId val="88277760"/>
        <c:scaling>
          <c:orientation val="minMax"/>
          <c:min val="6000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165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lineChart>
        <c:grouping val="standard"/>
        <c:ser>
          <c:idx val="0"/>
          <c:order val="0"/>
          <c:tx>
            <c:v>2011-2016</c:v>
          </c:tx>
          <c:spPr>
            <a:ln w="34925" cap="rnd">
              <a:solidFill>
                <a:srgbClr val="0070C0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dLbl>
              <c:idx val="0"/>
              <c:layout>
                <c:manualLayout>
                  <c:x val="3.3646247645891088E-2"/>
                  <c:y val="1.988498252950635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600" b="1" i="0" u="none" strike="noStrike" kern="1200" baseline="0">
                      <a:solidFill>
                        <a:schemeClr val="accent6">
                          <a:lumMod val="50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9"/>
              <c:layout>
                <c:manualLayout>
                  <c:x val="-1.0995915666694922E-3"/>
                  <c:y val="-0.1671037814023960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C0000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2!$A$2:$A$71</c:f>
              <c:numCache>
                <c:formatCode>mmm\-yy</c:formatCode>
                <c:ptCount val="70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  <c:pt idx="54">
                  <c:v>42186</c:v>
                </c:pt>
                <c:pt idx="55">
                  <c:v>42217</c:v>
                </c:pt>
                <c:pt idx="56">
                  <c:v>42248</c:v>
                </c:pt>
                <c:pt idx="57">
                  <c:v>42278</c:v>
                </c:pt>
                <c:pt idx="58">
                  <c:v>42309</c:v>
                </c:pt>
                <c:pt idx="59">
                  <c:v>42339</c:v>
                </c:pt>
                <c:pt idx="60">
                  <c:v>42370</c:v>
                </c:pt>
                <c:pt idx="61">
                  <c:v>42401</c:v>
                </c:pt>
                <c:pt idx="62">
                  <c:v>42430</c:v>
                </c:pt>
                <c:pt idx="63">
                  <c:v>42461</c:v>
                </c:pt>
                <c:pt idx="64">
                  <c:v>42491</c:v>
                </c:pt>
                <c:pt idx="65">
                  <c:v>42522</c:v>
                </c:pt>
                <c:pt idx="66">
                  <c:v>42552</c:v>
                </c:pt>
                <c:pt idx="67">
                  <c:v>42583</c:v>
                </c:pt>
                <c:pt idx="68">
                  <c:v>42614</c:v>
                </c:pt>
                <c:pt idx="69">
                  <c:v>42644</c:v>
                </c:pt>
              </c:numCache>
            </c:numRef>
          </c:cat>
          <c:val>
            <c:numRef>
              <c:f>Лист2!$D$2:$D$71</c:f>
              <c:numCache>
                <c:formatCode>"$"#\ ##0.00</c:formatCode>
                <c:ptCount val="70"/>
                <c:pt idx="0">
                  <c:v>72.624999999999986</c:v>
                </c:pt>
                <c:pt idx="1">
                  <c:v>69.624999999999986</c:v>
                </c:pt>
                <c:pt idx="2">
                  <c:v>60.5</c:v>
                </c:pt>
                <c:pt idx="3">
                  <c:v>55.25</c:v>
                </c:pt>
                <c:pt idx="4">
                  <c:v>57</c:v>
                </c:pt>
                <c:pt idx="5">
                  <c:v>52.875</c:v>
                </c:pt>
                <c:pt idx="6">
                  <c:v>51.75</c:v>
                </c:pt>
                <c:pt idx="7">
                  <c:v>49.125000000000007</c:v>
                </c:pt>
                <c:pt idx="8">
                  <c:v>52.25</c:v>
                </c:pt>
                <c:pt idx="9">
                  <c:v>51.875</c:v>
                </c:pt>
                <c:pt idx="10">
                  <c:v>51.625000000000007</c:v>
                </c:pt>
                <c:pt idx="11">
                  <c:v>51.875</c:v>
                </c:pt>
                <c:pt idx="12">
                  <c:v>52.125000000000007</c:v>
                </c:pt>
                <c:pt idx="13">
                  <c:v>52</c:v>
                </c:pt>
                <c:pt idx="14">
                  <c:v>51.05</c:v>
                </c:pt>
                <c:pt idx="15">
                  <c:v>51.625000000000007</c:v>
                </c:pt>
                <c:pt idx="16">
                  <c:v>51.625000000000007</c:v>
                </c:pt>
                <c:pt idx="17">
                  <c:v>50.75</c:v>
                </c:pt>
                <c:pt idx="18">
                  <c:v>49.5</c:v>
                </c:pt>
                <c:pt idx="19">
                  <c:v>48.25</c:v>
                </c:pt>
                <c:pt idx="20">
                  <c:v>46.5</c:v>
                </c:pt>
                <c:pt idx="21">
                  <c:v>41.75</c:v>
                </c:pt>
                <c:pt idx="22">
                  <c:v>42.25</c:v>
                </c:pt>
                <c:pt idx="23">
                  <c:v>43.375</c:v>
                </c:pt>
                <c:pt idx="24">
                  <c:v>43.875</c:v>
                </c:pt>
                <c:pt idx="25">
                  <c:v>42</c:v>
                </c:pt>
                <c:pt idx="26">
                  <c:v>42.25</c:v>
                </c:pt>
                <c:pt idx="27">
                  <c:v>40.5</c:v>
                </c:pt>
                <c:pt idx="28">
                  <c:v>40.449999999999996</c:v>
                </c:pt>
                <c:pt idx="29">
                  <c:v>39.600000000000009</c:v>
                </c:pt>
                <c:pt idx="30">
                  <c:v>34.75</c:v>
                </c:pt>
                <c:pt idx="31">
                  <c:v>34.5</c:v>
                </c:pt>
                <c:pt idx="32">
                  <c:v>35</c:v>
                </c:pt>
                <c:pt idx="33">
                  <c:v>34.5</c:v>
                </c:pt>
                <c:pt idx="34">
                  <c:v>36.075000000000003</c:v>
                </c:pt>
                <c:pt idx="35">
                  <c:v>34.5</c:v>
                </c:pt>
                <c:pt idx="36">
                  <c:v>35.449999999999996</c:v>
                </c:pt>
                <c:pt idx="37">
                  <c:v>35.375</c:v>
                </c:pt>
                <c:pt idx="38">
                  <c:v>34</c:v>
                </c:pt>
                <c:pt idx="39">
                  <c:v>30.424999999999997</c:v>
                </c:pt>
                <c:pt idx="40">
                  <c:v>28.25</c:v>
                </c:pt>
                <c:pt idx="41">
                  <c:v>28.224999999999998</c:v>
                </c:pt>
                <c:pt idx="42">
                  <c:v>28.5</c:v>
                </c:pt>
                <c:pt idx="43">
                  <c:v>31.5</c:v>
                </c:pt>
                <c:pt idx="44">
                  <c:v>35.4</c:v>
                </c:pt>
                <c:pt idx="45">
                  <c:v>36.375</c:v>
                </c:pt>
                <c:pt idx="46">
                  <c:v>39.5</c:v>
                </c:pt>
                <c:pt idx="47">
                  <c:v>35.5</c:v>
                </c:pt>
                <c:pt idx="48">
                  <c:v>37</c:v>
                </c:pt>
                <c:pt idx="49">
                  <c:v>38.625000000000007</c:v>
                </c:pt>
                <c:pt idx="50">
                  <c:v>39.449999999999996</c:v>
                </c:pt>
                <c:pt idx="51">
                  <c:v>37.125000000000007</c:v>
                </c:pt>
                <c:pt idx="52">
                  <c:v>35</c:v>
                </c:pt>
                <c:pt idx="53">
                  <c:v>36.375</c:v>
                </c:pt>
                <c:pt idx="54">
                  <c:v>35.5</c:v>
                </c:pt>
                <c:pt idx="55">
                  <c:v>36.75</c:v>
                </c:pt>
                <c:pt idx="56">
                  <c:v>36.375</c:v>
                </c:pt>
                <c:pt idx="57">
                  <c:v>36.125000000000007</c:v>
                </c:pt>
                <c:pt idx="58">
                  <c:v>36</c:v>
                </c:pt>
                <c:pt idx="59">
                  <c:v>34.225000000000009</c:v>
                </c:pt>
                <c:pt idx="60">
                  <c:v>34.700000000000003</c:v>
                </c:pt>
                <c:pt idx="61">
                  <c:v>32.15</c:v>
                </c:pt>
                <c:pt idx="62">
                  <c:v>28.7</c:v>
                </c:pt>
                <c:pt idx="63">
                  <c:v>27.5</c:v>
                </c:pt>
                <c:pt idx="64">
                  <c:v>27.25</c:v>
                </c:pt>
                <c:pt idx="65">
                  <c:v>26.7</c:v>
                </c:pt>
                <c:pt idx="66">
                  <c:v>25.45</c:v>
                </c:pt>
                <c:pt idx="67">
                  <c:v>25.25</c:v>
                </c:pt>
                <c:pt idx="68">
                  <c:v>23</c:v>
                </c:pt>
                <c:pt idx="69">
                  <c:v>19.5</c:v>
                </c:pt>
              </c:numCache>
            </c:numRef>
          </c:val>
        </c:ser>
        <c:ser>
          <c:idx val="1"/>
          <c:order val="1"/>
          <c:tx>
            <c:v>Себестоимость</c:v>
          </c:tx>
          <c:spPr>
            <a:ln w="34925" cap="rnd">
              <a:solidFill>
                <a:srgbClr val="C00000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cat>
            <c:numRef>
              <c:f>Лист2!$A$2:$A$71</c:f>
              <c:numCache>
                <c:formatCode>mmm\-yy</c:formatCode>
                <c:ptCount val="70"/>
                <c:pt idx="0">
                  <c:v>40544</c:v>
                </c:pt>
                <c:pt idx="1">
                  <c:v>40575</c:v>
                </c:pt>
                <c:pt idx="2">
                  <c:v>40603</c:v>
                </c:pt>
                <c:pt idx="3">
                  <c:v>40634</c:v>
                </c:pt>
                <c:pt idx="4">
                  <c:v>40664</c:v>
                </c:pt>
                <c:pt idx="5">
                  <c:v>40695</c:v>
                </c:pt>
                <c:pt idx="6">
                  <c:v>40725</c:v>
                </c:pt>
                <c:pt idx="7">
                  <c:v>40756</c:v>
                </c:pt>
                <c:pt idx="8">
                  <c:v>40787</c:v>
                </c:pt>
                <c:pt idx="9">
                  <c:v>40817</c:v>
                </c:pt>
                <c:pt idx="10">
                  <c:v>40848</c:v>
                </c:pt>
                <c:pt idx="11">
                  <c:v>40878</c:v>
                </c:pt>
                <c:pt idx="12">
                  <c:v>40909</c:v>
                </c:pt>
                <c:pt idx="13">
                  <c:v>40940</c:v>
                </c:pt>
                <c:pt idx="14">
                  <c:v>40969</c:v>
                </c:pt>
                <c:pt idx="15">
                  <c:v>41000</c:v>
                </c:pt>
                <c:pt idx="16">
                  <c:v>41030</c:v>
                </c:pt>
                <c:pt idx="17">
                  <c:v>41061</c:v>
                </c:pt>
                <c:pt idx="18">
                  <c:v>41091</c:v>
                </c:pt>
                <c:pt idx="19">
                  <c:v>41122</c:v>
                </c:pt>
                <c:pt idx="20">
                  <c:v>41153</c:v>
                </c:pt>
                <c:pt idx="21">
                  <c:v>41183</c:v>
                </c:pt>
                <c:pt idx="22">
                  <c:v>41214</c:v>
                </c:pt>
                <c:pt idx="23">
                  <c:v>41244</c:v>
                </c:pt>
                <c:pt idx="24">
                  <c:v>41275</c:v>
                </c:pt>
                <c:pt idx="25">
                  <c:v>41306</c:v>
                </c:pt>
                <c:pt idx="26">
                  <c:v>41334</c:v>
                </c:pt>
                <c:pt idx="27">
                  <c:v>41365</c:v>
                </c:pt>
                <c:pt idx="28">
                  <c:v>41395</c:v>
                </c:pt>
                <c:pt idx="29">
                  <c:v>41426</c:v>
                </c:pt>
                <c:pt idx="30">
                  <c:v>41456</c:v>
                </c:pt>
                <c:pt idx="31">
                  <c:v>41487</c:v>
                </c:pt>
                <c:pt idx="32">
                  <c:v>41518</c:v>
                </c:pt>
                <c:pt idx="33">
                  <c:v>41548</c:v>
                </c:pt>
                <c:pt idx="34">
                  <c:v>41579</c:v>
                </c:pt>
                <c:pt idx="35">
                  <c:v>41609</c:v>
                </c:pt>
                <c:pt idx="36">
                  <c:v>41640</c:v>
                </c:pt>
                <c:pt idx="37">
                  <c:v>41671</c:v>
                </c:pt>
                <c:pt idx="38">
                  <c:v>41699</c:v>
                </c:pt>
                <c:pt idx="39">
                  <c:v>41730</c:v>
                </c:pt>
                <c:pt idx="40">
                  <c:v>41760</c:v>
                </c:pt>
                <c:pt idx="41">
                  <c:v>41791</c:v>
                </c:pt>
                <c:pt idx="42">
                  <c:v>41821</c:v>
                </c:pt>
                <c:pt idx="43">
                  <c:v>41852</c:v>
                </c:pt>
                <c:pt idx="44">
                  <c:v>41883</c:v>
                </c:pt>
                <c:pt idx="45">
                  <c:v>41913</c:v>
                </c:pt>
                <c:pt idx="46">
                  <c:v>41944</c:v>
                </c:pt>
                <c:pt idx="47">
                  <c:v>41974</c:v>
                </c:pt>
                <c:pt idx="48">
                  <c:v>42005</c:v>
                </c:pt>
                <c:pt idx="49">
                  <c:v>42036</c:v>
                </c:pt>
                <c:pt idx="50">
                  <c:v>42064</c:v>
                </c:pt>
                <c:pt idx="51">
                  <c:v>42095</c:v>
                </c:pt>
                <c:pt idx="52">
                  <c:v>42125</c:v>
                </c:pt>
                <c:pt idx="53">
                  <c:v>42156</c:v>
                </c:pt>
                <c:pt idx="54">
                  <c:v>42186</c:v>
                </c:pt>
                <c:pt idx="55">
                  <c:v>42217</c:v>
                </c:pt>
                <c:pt idx="56">
                  <c:v>42248</c:v>
                </c:pt>
                <c:pt idx="57">
                  <c:v>42278</c:v>
                </c:pt>
                <c:pt idx="58">
                  <c:v>42309</c:v>
                </c:pt>
                <c:pt idx="59">
                  <c:v>42339</c:v>
                </c:pt>
                <c:pt idx="60">
                  <c:v>42370</c:v>
                </c:pt>
                <c:pt idx="61">
                  <c:v>42401</c:v>
                </c:pt>
                <c:pt idx="62">
                  <c:v>42430</c:v>
                </c:pt>
                <c:pt idx="63">
                  <c:v>42461</c:v>
                </c:pt>
                <c:pt idx="64">
                  <c:v>42491</c:v>
                </c:pt>
                <c:pt idx="65">
                  <c:v>42522</c:v>
                </c:pt>
                <c:pt idx="66">
                  <c:v>42552</c:v>
                </c:pt>
                <c:pt idx="67">
                  <c:v>42583</c:v>
                </c:pt>
                <c:pt idx="68">
                  <c:v>42614</c:v>
                </c:pt>
                <c:pt idx="69">
                  <c:v>42644</c:v>
                </c:pt>
              </c:numCache>
            </c:numRef>
          </c:cat>
          <c:val>
            <c:numRef>
              <c:f>Лист2!$E$2:$E$71</c:f>
              <c:numCache>
                <c:formatCode>"$"#\ ##0.00</c:formatCode>
                <c:ptCount val="70"/>
                <c:pt idx="0">
                  <c:v>15</c:v>
                </c:pt>
                <c:pt idx="1">
                  <c:v>15</c:v>
                </c:pt>
                <c:pt idx="2">
                  <c:v>15</c:v>
                </c:pt>
                <c:pt idx="3">
                  <c:v>15</c:v>
                </c:pt>
                <c:pt idx="4">
                  <c:v>15</c:v>
                </c:pt>
                <c:pt idx="5">
                  <c:v>15</c:v>
                </c:pt>
                <c:pt idx="6">
                  <c:v>15</c:v>
                </c:pt>
                <c:pt idx="7">
                  <c:v>15</c:v>
                </c:pt>
                <c:pt idx="8">
                  <c:v>15</c:v>
                </c:pt>
                <c:pt idx="9">
                  <c:v>15</c:v>
                </c:pt>
                <c:pt idx="10">
                  <c:v>15</c:v>
                </c:pt>
                <c:pt idx="11">
                  <c:v>15</c:v>
                </c:pt>
                <c:pt idx="12">
                  <c:v>15</c:v>
                </c:pt>
                <c:pt idx="13">
                  <c:v>15</c:v>
                </c:pt>
                <c:pt idx="14">
                  <c:v>15</c:v>
                </c:pt>
                <c:pt idx="15">
                  <c:v>15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5</c:v>
                </c:pt>
                <c:pt idx="20">
                  <c:v>15</c:v>
                </c:pt>
                <c:pt idx="21">
                  <c:v>15</c:v>
                </c:pt>
                <c:pt idx="22">
                  <c:v>15</c:v>
                </c:pt>
                <c:pt idx="23">
                  <c:v>15</c:v>
                </c:pt>
                <c:pt idx="24">
                  <c:v>15</c:v>
                </c:pt>
                <c:pt idx="25">
                  <c:v>15</c:v>
                </c:pt>
                <c:pt idx="26">
                  <c:v>15</c:v>
                </c:pt>
                <c:pt idx="27">
                  <c:v>15</c:v>
                </c:pt>
                <c:pt idx="28">
                  <c:v>15</c:v>
                </c:pt>
                <c:pt idx="29">
                  <c:v>15</c:v>
                </c:pt>
                <c:pt idx="30">
                  <c:v>15</c:v>
                </c:pt>
                <c:pt idx="31">
                  <c:v>15</c:v>
                </c:pt>
                <c:pt idx="32">
                  <c:v>15</c:v>
                </c:pt>
                <c:pt idx="33">
                  <c:v>15</c:v>
                </c:pt>
                <c:pt idx="34">
                  <c:v>15</c:v>
                </c:pt>
                <c:pt idx="35">
                  <c:v>15</c:v>
                </c:pt>
                <c:pt idx="36">
                  <c:v>15</c:v>
                </c:pt>
                <c:pt idx="37">
                  <c:v>15</c:v>
                </c:pt>
                <c:pt idx="38">
                  <c:v>15</c:v>
                </c:pt>
                <c:pt idx="39">
                  <c:v>15</c:v>
                </c:pt>
                <c:pt idx="40">
                  <c:v>15</c:v>
                </c:pt>
                <c:pt idx="41">
                  <c:v>15</c:v>
                </c:pt>
                <c:pt idx="42">
                  <c:v>15</c:v>
                </c:pt>
                <c:pt idx="43">
                  <c:v>15</c:v>
                </c:pt>
                <c:pt idx="44">
                  <c:v>15</c:v>
                </c:pt>
                <c:pt idx="45">
                  <c:v>15</c:v>
                </c:pt>
                <c:pt idx="46">
                  <c:v>15</c:v>
                </c:pt>
                <c:pt idx="47">
                  <c:v>15</c:v>
                </c:pt>
                <c:pt idx="48">
                  <c:v>15</c:v>
                </c:pt>
                <c:pt idx="49">
                  <c:v>15</c:v>
                </c:pt>
                <c:pt idx="50">
                  <c:v>15</c:v>
                </c:pt>
                <c:pt idx="51">
                  <c:v>15</c:v>
                </c:pt>
                <c:pt idx="52">
                  <c:v>15</c:v>
                </c:pt>
                <c:pt idx="53">
                  <c:v>15</c:v>
                </c:pt>
                <c:pt idx="54">
                  <c:v>15</c:v>
                </c:pt>
                <c:pt idx="55">
                  <c:v>15</c:v>
                </c:pt>
                <c:pt idx="56">
                  <c:v>15</c:v>
                </c:pt>
                <c:pt idx="57">
                  <c:v>15</c:v>
                </c:pt>
                <c:pt idx="58">
                  <c:v>15</c:v>
                </c:pt>
                <c:pt idx="59">
                  <c:v>15</c:v>
                </c:pt>
                <c:pt idx="60">
                  <c:v>15</c:v>
                </c:pt>
                <c:pt idx="61">
                  <c:v>15</c:v>
                </c:pt>
                <c:pt idx="62">
                  <c:v>15</c:v>
                </c:pt>
                <c:pt idx="63">
                  <c:v>15</c:v>
                </c:pt>
                <c:pt idx="64">
                  <c:v>15</c:v>
                </c:pt>
                <c:pt idx="65">
                  <c:v>15</c:v>
                </c:pt>
                <c:pt idx="66">
                  <c:v>15</c:v>
                </c:pt>
                <c:pt idx="67">
                  <c:v>15</c:v>
                </c:pt>
                <c:pt idx="68">
                  <c:v>15</c:v>
                </c:pt>
                <c:pt idx="69">
                  <c:v>15</c:v>
                </c:pt>
              </c:numCache>
            </c:numRef>
          </c:val>
        </c:ser>
        <c:dLbls/>
        <c:marker val="1"/>
        <c:axId val="88322432"/>
        <c:axId val="88323968"/>
      </c:lineChart>
      <c:dateAx>
        <c:axId val="88322432"/>
        <c:scaling>
          <c:orientation val="minMax"/>
        </c:scaling>
        <c:axPos val="b"/>
        <c:numFmt formatCode="mmm\-yy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323968"/>
        <c:crosses val="autoZero"/>
        <c:auto val="1"/>
        <c:lblOffset val="100"/>
        <c:baseTimeUnit val="months"/>
        <c:majorUnit val="1"/>
        <c:majorTimeUnit val="years"/>
      </c:dateAx>
      <c:valAx>
        <c:axId val="88323968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[$$-409]#,##0.00" sourceLinked="0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32243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sng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1800" u="sng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Плановый прирост запасов урана АО "НАК "Казатомпром" и СП на период до 2022 г, </a:t>
            </a:r>
            <a:r>
              <a:rPr lang="ru-RU" sz="1800" u="sng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тонн.</a:t>
            </a:r>
            <a:endParaRPr lang="ru-RU" sz="1800" u="sng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</a:endParaRPr>
          </a:p>
        </c:rich>
      </c:tx>
      <c:layout>
        <c:manualLayout>
          <c:xMode val="edge"/>
          <c:yMode val="edge"/>
          <c:x val="0.10800678040244974"/>
          <c:y val="2.777777777777779E-2"/>
        </c:manualLayout>
      </c:layout>
      <c:spPr>
        <a:noFill/>
        <a:ln>
          <a:noFill/>
        </a:ln>
        <a:effectLst/>
      </c:spPr>
    </c:title>
    <c:view3D>
      <c:depthPercent val="100"/>
      <c:rAngAx val="1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9025371828521461E-2"/>
          <c:y val="0.16245370370370368"/>
          <c:w val="0.87436270623684853"/>
          <c:h val="0.72088764946048423"/>
        </c:manualLayout>
      </c:layout>
      <c:bar3DChart>
        <c:barDir val="col"/>
        <c:grouping val="standard"/>
        <c:ser>
          <c:idx val="0"/>
          <c:order val="0"/>
          <c:spPr>
            <a:gradFill flip="none" rotWithShape="1">
              <a:gsLst>
                <a:gs pos="0">
                  <a:schemeClr val="accent6">
                    <a:lumMod val="50000"/>
                    <a:shade val="30000"/>
                    <a:satMod val="115000"/>
                  </a:schemeClr>
                </a:gs>
                <a:gs pos="50000">
                  <a:schemeClr val="accent6">
                    <a:lumMod val="50000"/>
                    <a:shade val="67500"/>
                    <a:satMod val="115000"/>
                  </a:schemeClr>
                </a:gs>
                <a:gs pos="100000">
                  <a:schemeClr val="accent6">
                    <a:lumMod val="50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p3d/>
          </c:spPr>
          <c:dLbls>
            <c:dLbl>
              <c:idx val="0"/>
              <c:layout>
                <c:manualLayout>
                  <c:x val="1.3463375859097343E-2"/>
                  <c:y val="-2.551833361664711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1015489339261463E-2"/>
                  <c:y val="-3.1887757660865705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9.7915460793434762E-3"/>
                  <c:y val="-2.2945985255027897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8.5676028194255835E-3"/>
                  <c:y val="-2.551833361664711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1.1015489339261463E-2"/>
                  <c:y val="-2.4211846130698628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1.3463375859097343E-2"/>
                  <c:y val="-2.551833361664711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1.2239432599179487E-2"/>
                  <c:y val="-3.0622000339976585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1.8359148898769103E-2"/>
                  <c:y val="-5.1036667233294294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5:$I$5</c:f>
              <c:strCache>
                <c:ptCount val="8"/>
                <c:pt idx="0">
                  <c:v>2015 г</c:v>
                </c:pt>
                <c:pt idx="1">
                  <c:v>2016 г</c:v>
                </c:pt>
                <c:pt idx="2">
                  <c:v>2017 г.</c:v>
                </c:pt>
                <c:pt idx="3">
                  <c:v>2018 г.</c:v>
                </c:pt>
                <c:pt idx="4">
                  <c:v>2019 г.</c:v>
                </c:pt>
                <c:pt idx="5">
                  <c:v>2020 г.</c:v>
                </c:pt>
                <c:pt idx="6">
                  <c:v>2021 г.</c:v>
                </c:pt>
                <c:pt idx="7">
                  <c:v>2022 г.</c:v>
                </c:pt>
              </c:strCache>
            </c:strRef>
          </c:cat>
          <c:val>
            <c:numRef>
              <c:f>Лист1!$B$16:$I$16</c:f>
              <c:numCache>
                <c:formatCode>General</c:formatCode>
                <c:ptCount val="8"/>
                <c:pt idx="0">
                  <c:v>0</c:v>
                </c:pt>
                <c:pt idx="1">
                  <c:v>2600</c:v>
                </c:pt>
                <c:pt idx="2">
                  <c:v>4500</c:v>
                </c:pt>
                <c:pt idx="3">
                  <c:v>2000</c:v>
                </c:pt>
                <c:pt idx="4">
                  <c:v>10000</c:v>
                </c:pt>
                <c:pt idx="5">
                  <c:v>33000</c:v>
                </c:pt>
                <c:pt idx="6">
                  <c:v>20000</c:v>
                </c:pt>
                <c:pt idx="7">
                  <c:v>25700</c:v>
                </c:pt>
              </c:numCache>
            </c:numRef>
          </c:val>
        </c:ser>
        <c:dLbls/>
        <c:shape val="box"/>
        <c:axId val="88462848"/>
        <c:axId val="88464384"/>
        <c:axId val="88444928"/>
      </c:bar3DChart>
      <c:catAx>
        <c:axId val="8846284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464384"/>
        <c:crosses val="autoZero"/>
        <c:auto val="1"/>
        <c:lblAlgn val="ctr"/>
        <c:lblOffset val="100"/>
      </c:catAx>
      <c:valAx>
        <c:axId val="88464384"/>
        <c:scaling>
          <c:orientation val="minMax"/>
          <c:max val="40000"/>
          <c:min val="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462848"/>
        <c:crosses val="autoZero"/>
        <c:crossBetween val="between"/>
      </c:valAx>
      <c:serAx>
        <c:axId val="88444928"/>
        <c:scaling>
          <c:orientation val="minMax"/>
        </c:scaling>
        <c:delete val="1"/>
        <c:axPos val="b"/>
        <c:majorTickMark val="none"/>
        <c:tickLblPos val="none"/>
        <c:crossAx val="88464384"/>
        <c:crosses val="autoZero"/>
      </c:ser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1800" b="1" dirty="0">
                <a:solidFill>
                  <a:schemeClr val="tx1"/>
                </a:solidFill>
              </a:rPr>
              <a:t>Плановый прирост </a:t>
            </a:r>
            <a:r>
              <a:rPr lang="ru-RU" sz="1800" b="1" dirty="0" smtClean="0">
                <a:solidFill>
                  <a:schemeClr val="tx1"/>
                </a:solidFill>
              </a:rPr>
              <a:t>ресурсов </a:t>
            </a:r>
            <a:r>
              <a:rPr lang="ru-RU" sz="1800" b="1" dirty="0">
                <a:solidFill>
                  <a:schemeClr val="tx1"/>
                </a:solidFill>
              </a:rPr>
              <a:t>урана АО "НАК "</a:t>
            </a:r>
            <a:r>
              <a:rPr lang="ru-RU" sz="1800" b="1" dirty="0" err="1">
                <a:solidFill>
                  <a:schemeClr val="tx1"/>
                </a:solidFill>
              </a:rPr>
              <a:t>Казатомпром</a:t>
            </a:r>
            <a:r>
              <a:rPr lang="ru-RU" sz="1800" b="1" dirty="0">
                <a:solidFill>
                  <a:schemeClr val="tx1"/>
                </a:solidFill>
              </a:rPr>
              <a:t>" и СП на период до </a:t>
            </a:r>
            <a:r>
              <a:rPr lang="ru-RU" sz="1800" b="1" dirty="0" smtClean="0">
                <a:solidFill>
                  <a:schemeClr val="tx1"/>
                </a:solidFill>
              </a:rPr>
              <a:t>2026 </a:t>
            </a:r>
            <a:r>
              <a:rPr lang="ru-RU" sz="1800" b="1" dirty="0">
                <a:solidFill>
                  <a:schemeClr val="tx1"/>
                </a:solidFill>
              </a:rPr>
              <a:t>г, </a:t>
            </a:r>
            <a:r>
              <a:rPr lang="ru-RU" sz="1800" b="1" dirty="0" smtClean="0">
                <a:solidFill>
                  <a:schemeClr val="tx1"/>
                </a:solidFill>
              </a:rPr>
              <a:t>тонн.</a:t>
            </a:r>
            <a:endParaRPr lang="ru-RU" sz="1800" b="1" dirty="0">
              <a:solidFill>
                <a:schemeClr val="tx1"/>
              </a:solidFill>
            </a:endParaRPr>
          </a:p>
        </c:rich>
      </c:tx>
      <c:layout/>
      <c:spPr>
        <a:noFill/>
        <a:ln>
          <a:noFill/>
        </a:ln>
        <a:effectLst/>
      </c:spPr>
    </c:title>
    <c:view3D>
      <c:depthPercent val="100"/>
      <c:rAngAx val="1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dLbls>
            <c:dLbl>
              <c:idx val="2"/>
              <c:layout>
                <c:manualLayout>
                  <c:x val="-3.897899582426668E-17"/>
                  <c:y val="-1.5982703442825343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1.1987027582119007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Исходные данные'!$B$4:$L$4</c:f>
              <c:numCache>
                <c:formatCode>General</c:formatCode>
                <c:ptCount val="10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  <c:pt idx="9">
                  <c:v>2026</c:v>
                </c:pt>
              </c:numCache>
            </c:numRef>
          </c:cat>
          <c:val>
            <c:numRef>
              <c:f>'Исходные данные'!$B$8:$L$8</c:f>
              <c:numCache>
                <c:formatCode>_(* #,##0_);_(* \(#,##0\);_(* "-"_);_(@_)</c:formatCode>
                <c:ptCount val="10"/>
                <c:pt idx="0">
                  <c:v>16640</c:v>
                </c:pt>
                <c:pt idx="1">
                  <c:v>20140</c:v>
                </c:pt>
                <c:pt idx="2">
                  <c:v>30675</c:v>
                </c:pt>
                <c:pt idx="3">
                  <c:v>29175</c:v>
                </c:pt>
                <c:pt idx="4">
                  <c:v>31500</c:v>
                </c:pt>
                <c:pt idx="5">
                  <c:v>33000</c:v>
                </c:pt>
                <c:pt idx="6">
                  <c:v>24500</c:v>
                </c:pt>
                <c:pt idx="7">
                  <c:v>20500</c:v>
                </c:pt>
                <c:pt idx="8">
                  <c:v>11500</c:v>
                </c:pt>
                <c:pt idx="9">
                  <c:v>10000</c:v>
                </c:pt>
              </c:numCache>
            </c:numRef>
          </c:val>
        </c:ser>
        <c:dLbls/>
        <c:shape val="box"/>
        <c:axId val="88499712"/>
        <c:axId val="88501248"/>
        <c:axId val="0"/>
      </c:bar3DChart>
      <c:catAx>
        <c:axId val="8849971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501248"/>
        <c:crosses val="autoZero"/>
        <c:auto val="1"/>
        <c:lblAlgn val="ctr"/>
        <c:lblOffset val="100"/>
      </c:catAx>
      <c:valAx>
        <c:axId val="88501248"/>
        <c:scaling>
          <c:orientation val="minMax"/>
          <c:max val="3500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88499712"/>
        <c:crosses val="autoZero"/>
        <c:crossBetween val="between"/>
        <c:majorUnit val="5000"/>
        <c:minorUnit val="1000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 sz="1050">
          <a:latin typeface="Arial Narrow" panose="020B0606020202030204" pitchFamily="34" charset="0"/>
        </a:defRPr>
      </a:pPr>
      <a:endParaRPr lang="ru-RU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993CB5-95F4-4B64-ABE9-D78A3FF821AA}" type="doc">
      <dgm:prSet loTypeId="urn:microsoft.com/office/officeart/2005/8/layout/cycle4#1" loCatId="cycle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90DC2C39-37FC-458F-B6E1-0E6AC8B9F0C0}">
      <dgm:prSet phldrT="[Текст]" custT="1"/>
      <dgm:spPr/>
      <dgm:t>
        <a:bodyPr/>
        <a:lstStyle/>
        <a:p>
          <a:r>
            <a:rPr lang="ru-RU" sz="1400" b="1" dirty="0" smtClean="0">
              <a:latin typeface="Arial Narrow" panose="020B0606020202030204" pitchFamily="34" charset="0"/>
            </a:rPr>
            <a:t>АО «НАК «Казатомпром»</a:t>
          </a:r>
        </a:p>
        <a:p>
          <a:r>
            <a:rPr lang="ru-RU" sz="1400" b="1" i="1" dirty="0" smtClean="0">
              <a:latin typeface="Arial Narrow" panose="020B0606020202030204" pitchFamily="34" charset="0"/>
            </a:rPr>
            <a:t>Центр «Управление знаниями, коммерциализация интеллектуальной собственности»</a:t>
          </a:r>
          <a:endParaRPr lang="ru-RU" sz="1400" dirty="0"/>
        </a:p>
      </dgm:t>
    </dgm:pt>
    <dgm:pt modelId="{5CAB4373-EAD3-4700-BDC6-7898EBEB34A6}" type="parTrans" cxnId="{CB746205-C0E3-4CFB-B434-B9AAEE661723}">
      <dgm:prSet/>
      <dgm:spPr/>
      <dgm:t>
        <a:bodyPr/>
        <a:lstStyle/>
        <a:p>
          <a:endParaRPr lang="ru-RU"/>
        </a:p>
      </dgm:t>
    </dgm:pt>
    <dgm:pt modelId="{2B7998A5-B958-48B7-9ADE-FD9B6ADFB20D}" type="sibTrans" cxnId="{CB746205-C0E3-4CFB-B434-B9AAEE661723}">
      <dgm:prSet/>
      <dgm:spPr/>
      <dgm:t>
        <a:bodyPr/>
        <a:lstStyle/>
        <a:p>
          <a:endParaRPr lang="ru-RU"/>
        </a:p>
      </dgm:t>
    </dgm:pt>
    <dgm:pt modelId="{2E7C6B23-2C43-40AD-872E-D9E913B62810}">
      <dgm:prSet phldrT="[Текст]" custT="1"/>
      <dgm:spPr/>
      <dgm:t>
        <a:bodyPr/>
        <a:lstStyle/>
        <a:p>
          <a:r>
            <a:rPr lang="ru-RU" sz="1400" b="1" dirty="0" smtClean="0">
              <a:latin typeface="Arial Narrow" panose="020B0606020202030204" pitchFamily="34" charset="0"/>
            </a:rPr>
            <a:t>ТОО «ИВТ»</a:t>
          </a:r>
        </a:p>
        <a:p>
          <a:r>
            <a:rPr lang="ru-RU" sz="1400" b="1" i="1" dirty="0" smtClean="0">
              <a:latin typeface="Arial Narrow" panose="020B0606020202030204" pitchFamily="34" charset="0"/>
            </a:rPr>
            <a:t>Центр «Добыча и переработка ПР, получение ЗОУ, попутное извлечение РЗМ» </a:t>
          </a:r>
          <a:endParaRPr lang="ru-RU" sz="1400" dirty="0"/>
        </a:p>
      </dgm:t>
    </dgm:pt>
    <dgm:pt modelId="{7A116E43-0990-4994-9E55-ACC5A3381B9E}" type="parTrans" cxnId="{458940D1-D13D-4375-BBD7-094F77D3D183}">
      <dgm:prSet/>
      <dgm:spPr/>
      <dgm:t>
        <a:bodyPr/>
        <a:lstStyle/>
        <a:p>
          <a:endParaRPr lang="ru-RU"/>
        </a:p>
      </dgm:t>
    </dgm:pt>
    <dgm:pt modelId="{861BC881-D18A-4AB3-9876-48A919BC192B}" type="sibTrans" cxnId="{458940D1-D13D-4375-BBD7-094F77D3D183}">
      <dgm:prSet/>
      <dgm:spPr/>
      <dgm:t>
        <a:bodyPr/>
        <a:lstStyle/>
        <a:p>
          <a:endParaRPr lang="ru-RU"/>
        </a:p>
      </dgm:t>
    </dgm:pt>
    <dgm:pt modelId="{F8A1AA3B-88B3-423B-8B8F-1FEFE2E9848E}">
      <dgm:prSet phldrT="[Текст]" custT="1"/>
      <dgm:spPr/>
      <dgm:t>
        <a:bodyPr/>
        <a:lstStyle/>
        <a:p>
          <a:r>
            <a:rPr lang="ru-RU" sz="1600" b="1" dirty="0" smtClean="0">
              <a:latin typeface="Arial Narrow" panose="020B0606020202030204" pitchFamily="34" charset="0"/>
            </a:rPr>
            <a:t>АО «УМЗ»</a:t>
          </a:r>
        </a:p>
        <a:p>
          <a:r>
            <a:rPr lang="ru-RU" sz="1600" b="1" dirty="0" smtClean="0">
              <a:latin typeface="Arial Narrow" panose="020B0606020202030204" pitchFamily="34" charset="0"/>
            </a:rPr>
            <a:t>Центр «Высокие технологии ЯТЦ, получение и переработка РМ»</a:t>
          </a:r>
          <a:endParaRPr lang="ru-RU" sz="1600" b="1" dirty="0"/>
        </a:p>
      </dgm:t>
    </dgm:pt>
    <dgm:pt modelId="{B7310B54-4E7A-4A08-8468-6B8B121A9BA5}" type="parTrans" cxnId="{90631070-9404-44AF-93FD-286DFDB77DC0}">
      <dgm:prSet/>
      <dgm:spPr/>
      <dgm:t>
        <a:bodyPr/>
        <a:lstStyle/>
        <a:p>
          <a:endParaRPr lang="ru-RU"/>
        </a:p>
      </dgm:t>
    </dgm:pt>
    <dgm:pt modelId="{2AEE9D4E-57D5-4875-9A61-D041675735D2}" type="sibTrans" cxnId="{90631070-9404-44AF-93FD-286DFDB77DC0}">
      <dgm:prSet/>
      <dgm:spPr/>
      <dgm:t>
        <a:bodyPr/>
        <a:lstStyle/>
        <a:p>
          <a:endParaRPr lang="ru-RU"/>
        </a:p>
      </dgm:t>
    </dgm:pt>
    <dgm:pt modelId="{4E13ACAA-CD55-478B-9D93-C6E1AD8A7107}">
      <dgm:prSet phldrT="[Текст]" custT="1"/>
      <dgm:spPr/>
      <dgm:t>
        <a:bodyPr/>
        <a:lstStyle/>
        <a:p>
          <a:r>
            <a:rPr lang="ru-RU" sz="1300" b="1" dirty="0" smtClean="0">
              <a:latin typeface="Arial Narrow" panose="020B0606020202030204" pitchFamily="34" charset="0"/>
            </a:rPr>
            <a:t>АО «ВОЛКОВГЕОЛОГИЯ»</a:t>
          </a:r>
        </a:p>
        <a:p>
          <a:r>
            <a:rPr lang="ru-RU" sz="1300" b="1" i="1" dirty="0" smtClean="0">
              <a:latin typeface="Arial Narrow" panose="020B0606020202030204" pitchFamily="34" charset="0"/>
            </a:rPr>
            <a:t>Центр «Геология, </a:t>
          </a:r>
          <a:r>
            <a:rPr lang="ru-RU" sz="1300" b="1" i="1" dirty="0" err="1" smtClean="0">
              <a:latin typeface="Arial Narrow" panose="020B0606020202030204" pitchFamily="34" charset="0"/>
            </a:rPr>
            <a:t>геотехнология</a:t>
          </a:r>
          <a:r>
            <a:rPr lang="ru-RU" sz="1300" b="1" i="1" dirty="0" smtClean="0">
              <a:latin typeface="Arial Narrow" panose="020B0606020202030204" pitchFamily="34" charset="0"/>
            </a:rPr>
            <a:t> и горно-подготовительные работы» </a:t>
          </a:r>
          <a:endParaRPr lang="ru-RU" sz="1300" dirty="0"/>
        </a:p>
      </dgm:t>
    </dgm:pt>
    <dgm:pt modelId="{F6CB3240-26E6-47AD-9796-F4B5A41B4FA8}" type="parTrans" cxnId="{2FB220CC-458D-4247-9F22-F16140B8DC5D}">
      <dgm:prSet/>
      <dgm:spPr/>
      <dgm:t>
        <a:bodyPr/>
        <a:lstStyle/>
        <a:p>
          <a:endParaRPr lang="ru-RU"/>
        </a:p>
      </dgm:t>
    </dgm:pt>
    <dgm:pt modelId="{56DCDBD5-30EF-493A-A825-9ED50375ADAE}" type="sibTrans" cxnId="{2FB220CC-458D-4247-9F22-F16140B8DC5D}">
      <dgm:prSet/>
      <dgm:spPr/>
      <dgm:t>
        <a:bodyPr/>
        <a:lstStyle/>
        <a:p>
          <a:endParaRPr lang="ru-RU"/>
        </a:p>
      </dgm:t>
    </dgm:pt>
    <dgm:pt modelId="{E68F36BD-226E-4F89-83D6-1E4F38C22E33}" type="pres">
      <dgm:prSet presAssocID="{63993CB5-95F4-4B64-ABE9-D78A3FF821AA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4FCDAA0-F53A-4541-A27A-952C03C4900F}" type="pres">
      <dgm:prSet presAssocID="{63993CB5-95F4-4B64-ABE9-D78A3FF821AA}" presName="children" presStyleCnt="0"/>
      <dgm:spPr/>
    </dgm:pt>
    <dgm:pt modelId="{C0E2A7C1-7AF6-4988-AAC3-A67BD1070452}" type="pres">
      <dgm:prSet presAssocID="{63993CB5-95F4-4B64-ABE9-D78A3FF821AA}" presName="childPlaceholder" presStyleCnt="0"/>
      <dgm:spPr/>
    </dgm:pt>
    <dgm:pt modelId="{E3EF5EE7-403A-4EFA-9A25-102687FC787C}" type="pres">
      <dgm:prSet presAssocID="{63993CB5-95F4-4B64-ABE9-D78A3FF821AA}" presName="circle" presStyleCnt="0"/>
      <dgm:spPr/>
    </dgm:pt>
    <dgm:pt modelId="{F559BB88-896F-4F47-B72D-82CD3A5A907C}" type="pres">
      <dgm:prSet presAssocID="{63993CB5-95F4-4B64-ABE9-D78A3FF821AA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9A49C4-EC5B-4D47-A5C0-9B34C2046754}" type="pres">
      <dgm:prSet presAssocID="{63993CB5-95F4-4B64-ABE9-D78A3FF821AA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C9334A-8ADD-4FB8-BC6C-4112BDED7D7A}" type="pres">
      <dgm:prSet presAssocID="{63993CB5-95F4-4B64-ABE9-D78A3FF821AA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30ED56-0BEC-45AD-BEAF-5632B54EBA7F}" type="pres">
      <dgm:prSet presAssocID="{63993CB5-95F4-4B64-ABE9-D78A3FF821AA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58AFFD-D91C-4440-8D3D-408AFF6FBB2E}" type="pres">
      <dgm:prSet presAssocID="{63993CB5-95F4-4B64-ABE9-D78A3FF821AA}" presName="quadrantPlaceholder" presStyleCnt="0"/>
      <dgm:spPr/>
    </dgm:pt>
    <dgm:pt modelId="{E1AFF92A-E64D-4760-8BE5-D7C0D1DB1775}" type="pres">
      <dgm:prSet presAssocID="{63993CB5-95F4-4B64-ABE9-D78A3FF821AA}" presName="center1" presStyleLbl="fgShp" presStyleIdx="0" presStyleCnt="2"/>
      <dgm:spPr/>
    </dgm:pt>
    <dgm:pt modelId="{C40A024A-2D88-47E7-B21D-E54B99B176E7}" type="pres">
      <dgm:prSet presAssocID="{63993CB5-95F4-4B64-ABE9-D78A3FF821AA}" presName="center2" presStyleLbl="fgShp" presStyleIdx="1" presStyleCnt="2"/>
      <dgm:spPr/>
    </dgm:pt>
  </dgm:ptLst>
  <dgm:cxnLst>
    <dgm:cxn modelId="{458940D1-D13D-4375-BBD7-094F77D3D183}" srcId="{63993CB5-95F4-4B64-ABE9-D78A3FF821AA}" destId="{2E7C6B23-2C43-40AD-872E-D9E913B62810}" srcOrd="1" destOrd="0" parTransId="{7A116E43-0990-4994-9E55-ACC5A3381B9E}" sibTransId="{861BC881-D18A-4AB3-9876-48A919BC192B}"/>
    <dgm:cxn modelId="{E7D9E226-D46C-44AF-97D2-36A990AAB028}" type="presOf" srcId="{90DC2C39-37FC-458F-B6E1-0E6AC8B9F0C0}" destId="{F559BB88-896F-4F47-B72D-82CD3A5A907C}" srcOrd="0" destOrd="0" presId="urn:microsoft.com/office/officeart/2005/8/layout/cycle4#1"/>
    <dgm:cxn modelId="{B5B765D3-DAA2-47FF-B5F1-C492FA2A25FB}" type="presOf" srcId="{2E7C6B23-2C43-40AD-872E-D9E913B62810}" destId="{8D9A49C4-EC5B-4D47-A5C0-9B34C2046754}" srcOrd="0" destOrd="0" presId="urn:microsoft.com/office/officeart/2005/8/layout/cycle4#1"/>
    <dgm:cxn modelId="{F316FAFD-2C43-4C3E-A56F-37813E823FB0}" type="presOf" srcId="{4E13ACAA-CD55-478B-9D93-C6E1AD8A7107}" destId="{D730ED56-0BEC-45AD-BEAF-5632B54EBA7F}" srcOrd="0" destOrd="0" presId="urn:microsoft.com/office/officeart/2005/8/layout/cycle4#1"/>
    <dgm:cxn modelId="{90D7ED20-0A59-4600-B19E-463EA401ECDE}" type="presOf" srcId="{63993CB5-95F4-4B64-ABE9-D78A3FF821AA}" destId="{E68F36BD-226E-4F89-83D6-1E4F38C22E33}" srcOrd="0" destOrd="0" presId="urn:microsoft.com/office/officeart/2005/8/layout/cycle4#1"/>
    <dgm:cxn modelId="{CB746205-C0E3-4CFB-B434-B9AAEE661723}" srcId="{63993CB5-95F4-4B64-ABE9-D78A3FF821AA}" destId="{90DC2C39-37FC-458F-B6E1-0E6AC8B9F0C0}" srcOrd="0" destOrd="0" parTransId="{5CAB4373-EAD3-4700-BDC6-7898EBEB34A6}" sibTransId="{2B7998A5-B958-48B7-9ADE-FD9B6ADFB20D}"/>
    <dgm:cxn modelId="{90631070-9404-44AF-93FD-286DFDB77DC0}" srcId="{63993CB5-95F4-4B64-ABE9-D78A3FF821AA}" destId="{F8A1AA3B-88B3-423B-8B8F-1FEFE2E9848E}" srcOrd="2" destOrd="0" parTransId="{B7310B54-4E7A-4A08-8468-6B8B121A9BA5}" sibTransId="{2AEE9D4E-57D5-4875-9A61-D041675735D2}"/>
    <dgm:cxn modelId="{A51A5FAE-1417-47E3-ACCA-483E9FD3F781}" type="presOf" srcId="{F8A1AA3B-88B3-423B-8B8F-1FEFE2E9848E}" destId="{91C9334A-8ADD-4FB8-BC6C-4112BDED7D7A}" srcOrd="0" destOrd="0" presId="urn:microsoft.com/office/officeart/2005/8/layout/cycle4#1"/>
    <dgm:cxn modelId="{2FB220CC-458D-4247-9F22-F16140B8DC5D}" srcId="{63993CB5-95F4-4B64-ABE9-D78A3FF821AA}" destId="{4E13ACAA-CD55-478B-9D93-C6E1AD8A7107}" srcOrd="3" destOrd="0" parTransId="{F6CB3240-26E6-47AD-9796-F4B5A41B4FA8}" sibTransId="{56DCDBD5-30EF-493A-A825-9ED50375ADAE}"/>
    <dgm:cxn modelId="{6DB00B65-343E-401B-B3E4-941368865405}" type="presParOf" srcId="{E68F36BD-226E-4F89-83D6-1E4F38C22E33}" destId="{D4FCDAA0-F53A-4541-A27A-952C03C4900F}" srcOrd="0" destOrd="0" presId="urn:microsoft.com/office/officeart/2005/8/layout/cycle4#1"/>
    <dgm:cxn modelId="{0B3B4267-74C7-4FF8-8E90-65B374C8756A}" type="presParOf" srcId="{D4FCDAA0-F53A-4541-A27A-952C03C4900F}" destId="{C0E2A7C1-7AF6-4988-AAC3-A67BD1070452}" srcOrd="0" destOrd="0" presId="urn:microsoft.com/office/officeart/2005/8/layout/cycle4#1"/>
    <dgm:cxn modelId="{23AA3685-7007-4F0B-8ED6-F441F0F52AAF}" type="presParOf" srcId="{E68F36BD-226E-4F89-83D6-1E4F38C22E33}" destId="{E3EF5EE7-403A-4EFA-9A25-102687FC787C}" srcOrd="1" destOrd="0" presId="urn:microsoft.com/office/officeart/2005/8/layout/cycle4#1"/>
    <dgm:cxn modelId="{67D243B1-D06D-4473-A984-D17ACB792CC6}" type="presParOf" srcId="{E3EF5EE7-403A-4EFA-9A25-102687FC787C}" destId="{F559BB88-896F-4F47-B72D-82CD3A5A907C}" srcOrd="0" destOrd="0" presId="urn:microsoft.com/office/officeart/2005/8/layout/cycle4#1"/>
    <dgm:cxn modelId="{F324B7C3-8B6F-41F2-8108-BDB6440A335D}" type="presParOf" srcId="{E3EF5EE7-403A-4EFA-9A25-102687FC787C}" destId="{8D9A49C4-EC5B-4D47-A5C0-9B34C2046754}" srcOrd="1" destOrd="0" presId="urn:microsoft.com/office/officeart/2005/8/layout/cycle4#1"/>
    <dgm:cxn modelId="{913A82C9-532E-4842-B8E5-226AE4983AC8}" type="presParOf" srcId="{E3EF5EE7-403A-4EFA-9A25-102687FC787C}" destId="{91C9334A-8ADD-4FB8-BC6C-4112BDED7D7A}" srcOrd="2" destOrd="0" presId="urn:microsoft.com/office/officeart/2005/8/layout/cycle4#1"/>
    <dgm:cxn modelId="{1D8D91BD-425D-424D-901A-5915CF0EAD99}" type="presParOf" srcId="{E3EF5EE7-403A-4EFA-9A25-102687FC787C}" destId="{D730ED56-0BEC-45AD-BEAF-5632B54EBA7F}" srcOrd="3" destOrd="0" presId="urn:microsoft.com/office/officeart/2005/8/layout/cycle4#1"/>
    <dgm:cxn modelId="{449A36A3-65CA-4D45-894A-ED5EC08FF83E}" type="presParOf" srcId="{E3EF5EE7-403A-4EFA-9A25-102687FC787C}" destId="{C158AFFD-D91C-4440-8D3D-408AFF6FBB2E}" srcOrd="4" destOrd="0" presId="urn:microsoft.com/office/officeart/2005/8/layout/cycle4#1"/>
    <dgm:cxn modelId="{4FEB418D-2324-429B-9884-8BD17276586F}" type="presParOf" srcId="{E68F36BD-226E-4F89-83D6-1E4F38C22E33}" destId="{E1AFF92A-E64D-4760-8BE5-D7C0D1DB1775}" srcOrd="2" destOrd="0" presId="urn:microsoft.com/office/officeart/2005/8/layout/cycle4#1"/>
    <dgm:cxn modelId="{A3EA93F0-5E49-4F1B-B832-4EF35B0B5965}" type="presParOf" srcId="{E68F36BD-226E-4F89-83D6-1E4F38C22E33}" destId="{C40A024A-2D88-47E7-B21D-E54B99B176E7}" srcOrd="3" destOrd="0" presId="urn:microsoft.com/office/officeart/2005/8/layout/cycle4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559BB88-896F-4F47-B72D-82CD3A5A907C}">
      <dsp:nvSpPr>
        <dsp:cNvPr id="0" name=""/>
        <dsp:cNvSpPr/>
      </dsp:nvSpPr>
      <dsp:spPr>
        <a:xfrm>
          <a:off x="2076744" y="313706"/>
          <a:ext cx="2383069" cy="2383069"/>
        </a:xfrm>
        <a:prstGeom prst="pieWedg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 Narrow" panose="020B0606020202030204" pitchFamily="34" charset="0"/>
            </a:rPr>
            <a:t>АО «НАК «Казатомпром»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i="1" kern="1200" dirty="0" smtClean="0">
              <a:latin typeface="Arial Narrow" panose="020B0606020202030204" pitchFamily="34" charset="0"/>
            </a:rPr>
            <a:t>Центр «Управление знаниями, коммерциализация интеллектуальной собственности»</a:t>
          </a:r>
          <a:endParaRPr lang="ru-RU" sz="1400" kern="1200" dirty="0"/>
        </a:p>
      </dsp:txBody>
      <dsp:txXfrm>
        <a:off x="2076744" y="313706"/>
        <a:ext cx="2383069" cy="2383069"/>
      </dsp:txXfrm>
    </dsp:sp>
    <dsp:sp modelId="{8D9A49C4-EC5B-4D47-A5C0-9B34C2046754}">
      <dsp:nvSpPr>
        <dsp:cNvPr id="0" name=""/>
        <dsp:cNvSpPr/>
      </dsp:nvSpPr>
      <dsp:spPr>
        <a:xfrm rot="5400000">
          <a:off x="4569886" y="313706"/>
          <a:ext cx="2383069" cy="2383069"/>
        </a:xfrm>
        <a:prstGeom prst="pieWedg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 Narrow" panose="020B0606020202030204" pitchFamily="34" charset="0"/>
            </a:rPr>
            <a:t>ТОО «ИВТ»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i="1" kern="1200" dirty="0" smtClean="0">
              <a:latin typeface="Arial Narrow" panose="020B0606020202030204" pitchFamily="34" charset="0"/>
            </a:rPr>
            <a:t>Центр «Добыча и переработка ПР, получение ЗОУ, попутное извлечение РЗМ» </a:t>
          </a:r>
          <a:endParaRPr lang="ru-RU" sz="1400" kern="1200" dirty="0"/>
        </a:p>
      </dsp:txBody>
      <dsp:txXfrm rot="5400000">
        <a:off x="4569886" y="313706"/>
        <a:ext cx="2383069" cy="2383069"/>
      </dsp:txXfrm>
    </dsp:sp>
    <dsp:sp modelId="{91C9334A-8ADD-4FB8-BC6C-4112BDED7D7A}">
      <dsp:nvSpPr>
        <dsp:cNvPr id="0" name=""/>
        <dsp:cNvSpPr/>
      </dsp:nvSpPr>
      <dsp:spPr>
        <a:xfrm rot="10800000">
          <a:off x="4569886" y="2806848"/>
          <a:ext cx="2383069" cy="2383069"/>
        </a:xfrm>
        <a:prstGeom prst="pieWedg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Arial Narrow" panose="020B0606020202030204" pitchFamily="34" charset="0"/>
            </a:rPr>
            <a:t>АО «УМЗ»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Arial Narrow" panose="020B0606020202030204" pitchFamily="34" charset="0"/>
            </a:rPr>
            <a:t>Центр «Высокие технологии ЯТЦ, получение и переработка РМ»</a:t>
          </a:r>
          <a:endParaRPr lang="ru-RU" sz="1600" b="1" kern="1200" dirty="0"/>
        </a:p>
      </dsp:txBody>
      <dsp:txXfrm rot="10800000">
        <a:off x="4569886" y="2806848"/>
        <a:ext cx="2383069" cy="2383069"/>
      </dsp:txXfrm>
    </dsp:sp>
    <dsp:sp modelId="{D730ED56-0BEC-45AD-BEAF-5632B54EBA7F}">
      <dsp:nvSpPr>
        <dsp:cNvPr id="0" name=""/>
        <dsp:cNvSpPr/>
      </dsp:nvSpPr>
      <dsp:spPr>
        <a:xfrm rot="16200000">
          <a:off x="2076744" y="2806848"/>
          <a:ext cx="2383069" cy="2383069"/>
        </a:xfrm>
        <a:prstGeom prst="pieWedg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latin typeface="Arial Narrow" panose="020B0606020202030204" pitchFamily="34" charset="0"/>
            </a:rPr>
            <a:t>АО «ВОЛКОВГЕОЛОГИЯ»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i="1" kern="1200" dirty="0" smtClean="0">
              <a:latin typeface="Arial Narrow" panose="020B0606020202030204" pitchFamily="34" charset="0"/>
            </a:rPr>
            <a:t>Центр «Геология, </a:t>
          </a:r>
          <a:r>
            <a:rPr lang="ru-RU" sz="1300" b="1" i="1" kern="1200" dirty="0" err="1" smtClean="0">
              <a:latin typeface="Arial Narrow" panose="020B0606020202030204" pitchFamily="34" charset="0"/>
            </a:rPr>
            <a:t>геотехнология</a:t>
          </a:r>
          <a:r>
            <a:rPr lang="ru-RU" sz="1300" b="1" i="1" kern="1200" dirty="0" smtClean="0">
              <a:latin typeface="Arial Narrow" panose="020B0606020202030204" pitchFamily="34" charset="0"/>
            </a:rPr>
            <a:t> и горно-подготовительные работы» </a:t>
          </a:r>
          <a:endParaRPr lang="ru-RU" sz="1300" kern="1200" dirty="0"/>
        </a:p>
      </dsp:txBody>
      <dsp:txXfrm rot="16200000">
        <a:off x="2076744" y="2806848"/>
        <a:ext cx="2383069" cy="2383069"/>
      </dsp:txXfrm>
    </dsp:sp>
    <dsp:sp modelId="{E1AFF92A-E64D-4760-8BE5-D7C0D1DB1775}">
      <dsp:nvSpPr>
        <dsp:cNvPr id="0" name=""/>
        <dsp:cNvSpPr/>
      </dsp:nvSpPr>
      <dsp:spPr>
        <a:xfrm>
          <a:off x="4103454" y="2256486"/>
          <a:ext cx="822791" cy="715471"/>
        </a:xfrm>
        <a:prstGeom prst="circularArrow">
          <a:avLst/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0A024A-2D88-47E7-B21D-E54B99B176E7}">
      <dsp:nvSpPr>
        <dsp:cNvPr id="0" name=""/>
        <dsp:cNvSpPr/>
      </dsp:nvSpPr>
      <dsp:spPr>
        <a:xfrm rot="10800000">
          <a:off x="4103454" y="2531667"/>
          <a:ext cx="822791" cy="715471"/>
        </a:xfrm>
        <a:prstGeom prst="circularArrow">
          <a:avLst/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#1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rawing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4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857</cdr:x>
      <cdr:y>0.56434</cdr:y>
    </cdr:from>
    <cdr:to>
      <cdr:x>1</cdr:x>
      <cdr:y>1</cdr:y>
    </cdr:to>
    <cdr:sp macro="" textlink="">
      <cdr:nvSpPr>
        <cdr:cNvPr id="2" name="TextBox 2"/>
        <cdr:cNvSpPr txBox="1"/>
      </cdr:nvSpPr>
      <cdr:spPr>
        <a:xfrm xmlns:a="http://schemas.openxmlformats.org/drawingml/2006/main">
          <a:off x="218846" y="2868664"/>
          <a:ext cx="2972889" cy="221455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noAutofit/>
        </a:bodyPr>
        <a:lstStyle xmlns:a="http://schemas.openxmlformats.org/drawingml/2006/main"/>
        <a:p xmlns:a="http://schemas.openxmlformats.org/drawingml/2006/main">
          <a:r>
            <a:rPr lang="en-US" sz="2000" kern="1200" dirty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I</a:t>
          </a:r>
          <a:r>
            <a:rPr lang="ru-RU" sz="2000" kern="1200" dirty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. </a:t>
          </a:r>
          <a:r>
            <a:rPr lang="kk-KZ" sz="2000" kern="1200" dirty="0" smtClean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Сырдария</a:t>
          </a:r>
          <a:endParaRPr lang="ru-RU" sz="2000" dirty="0" smtClean="0">
            <a:effectLst/>
            <a:latin typeface="Arial" pitchFamily="34" charset="0"/>
            <a:ea typeface="Times New Roman"/>
            <a:cs typeface="Arial" pitchFamily="34" charset="0"/>
          </a:endParaRPr>
        </a:p>
        <a:p xmlns:a="http://schemas.openxmlformats.org/drawingml/2006/main">
          <a:pPr>
            <a:spcAft>
              <a:spcPts val="0"/>
            </a:spcAft>
          </a:pPr>
          <a:r>
            <a:rPr lang="en-US" sz="2000" kern="1200" dirty="0" smtClean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II</a:t>
          </a:r>
          <a:r>
            <a:rPr lang="ru-RU" sz="2000" kern="1200" dirty="0" smtClean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. </a:t>
          </a:r>
          <a:r>
            <a:rPr lang="kk-KZ" sz="2000" kern="1200" dirty="0" err="1" smtClean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Шу-Сарысу</a:t>
          </a:r>
          <a:endParaRPr lang="ru-RU" sz="2000" dirty="0">
            <a:effectLst/>
            <a:latin typeface="Arial" pitchFamily="34" charset="0"/>
            <a:ea typeface="Times New Roman"/>
            <a:cs typeface="Arial" pitchFamily="34" charset="0"/>
          </a:endParaRPr>
        </a:p>
        <a:p xmlns:a="http://schemas.openxmlformats.org/drawingml/2006/main">
          <a:pPr>
            <a:spcAft>
              <a:spcPts val="0"/>
            </a:spcAft>
          </a:pPr>
          <a:r>
            <a:rPr lang="kk-KZ" sz="2000" kern="1200" dirty="0" smtClean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III</a:t>
          </a:r>
          <a:r>
            <a:rPr lang="kk-KZ" sz="2000" kern="1200" dirty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. Солтүстік Қазақстан</a:t>
          </a:r>
          <a:endParaRPr lang="ru-RU" sz="2000" dirty="0">
            <a:effectLst/>
            <a:latin typeface="Arial" pitchFamily="34" charset="0"/>
            <a:ea typeface="Times New Roman"/>
            <a:cs typeface="Arial" pitchFamily="34" charset="0"/>
          </a:endParaRPr>
        </a:p>
        <a:p xmlns:a="http://schemas.openxmlformats.org/drawingml/2006/main">
          <a:pPr>
            <a:spcAft>
              <a:spcPts val="0"/>
            </a:spcAft>
          </a:pPr>
          <a:r>
            <a:rPr lang="kk-KZ" sz="2000" kern="1200" dirty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IV. Іле</a:t>
          </a:r>
          <a:endParaRPr lang="ru-RU" sz="2000" dirty="0">
            <a:effectLst/>
            <a:latin typeface="Arial" pitchFamily="34" charset="0"/>
            <a:ea typeface="Times New Roman"/>
            <a:cs typeface="Arial" pitchFamily="34" charset="0"/>
          </a:endParaRPr>
        </a:p>
        <a:p xmlns:a="http://schemas.openxmlformats.org/drawingml/2006/main">
          <a:pPr>
            <a:spcAft>
              <a:spcPts val="0"/>
            </a:spcAft>
          </a:pPr>
          <a:r>
            <a:rPr lang="kk-KZ" sz="2000" kern="1200" dirty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V. Каспий маңы</a:t>
          </a:r>
          <a:endParaRPr lang="ru-RU" sz="2000" dirty="0">
            <a:effectLst/>
            <a:latin typeface="Arial" pitchFamily="34" charset="0"/>
            <a:ea typeface="Times New Roman"/>
            <a:cs typeface="Arial" pitchFamily="34" charset="0"/>
          </a:endParaRPr>
        </a:p>
        <a:p xmlns:a="http://schemas.openxmlformats.org/drawingml/2006/main">
          <a:pPr>
            <a:spcAft>
              <a:spcPts val="0"/>
            </a:spcAft>
          </a:pPr>
          <a:r>
            <a:rPr lang="kk-KZ" sz="2000" kern="1200" dirty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VI. </a:t>
          </a:r>
          <a:r>
            <a:rPr lang="kk-KZ" sz="2000" kern="1200" dirty="0" smtClean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Балқаш </a:t>
          </a:r>
          <a:r>
            <a:rPr lang="kk-KZ" sz="2000" kern="1200" dirty="0">
              <a:solidFill>
                <a:srgbClr val="000000"/>
              </a:solidFill>
              <a:effectLst/>
              <a:latin typeface="Arial" pitchFamily="34" charset="0"/>
              <a:ea typeface="Times New Roman"/>
              <a:cs typeface="Arial" pitchFamily="34" charset="0"/>
            </a:rPr>
            <a:t>маңы</a:t>
          </a:r>
          <a:endParaRPr lang="ru-RU" sz="2000" dirty="0">
            <a:effectLst/>
            <a:latin typeface="Arial" pitchFamily="34" charset="0"/>
            <a:ea typeface="Times New Roman"/>
            <a:cs typeface="Arial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1733</cdr:x>
      <cdr:y>0.8292</cdr:y>
    </cdr:from>
    <cdr:to>
      <cdr:x>0.68792</cdr:x>
      <cdr:y>0.96003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1858461" y="1904581"/>
          <a:ext cx="2170329" cy="300507"/>
        </a:xfrm>
        <a:prstGeom xmlns:a="http://schemas.openxmlformats.org/drawingml/2006/main" prst="rect">
          <a:avLst/>
        </a:prstGeom>
      </cdr:spPr>
    </cdr:pic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5737</cdr:x>
      <cdr:y>0.85836</cdr:y>
    </cdr:from>
    <cdr:to>
      <cdr:x>0.74081</cdr:x>
      <cdr:y>0.97375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1455144" y="2111699"/>
          <a:ext cx="2733334" cy="283865"/>
        </a:xfrm>
        <a:prstGeom xmlns:a="http://schemas.openxmlformats.org/drawingml/2006/main" prst="rect">
          <a:avLst/>
        </a:prstGeom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411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r">
              <a:defRPr sz="1200"/>
            </a:lvl1pPr>
          </a:lstStyle>
          <a:p>
            <a:fld id="{D7A69BB0-198F-4884-BF2A-931DAE1545AF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30092"/>
            <a:ext cx="2945659" cy="496411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r">
              <a:defRPr sz="1200"/>
            </a:lvl1pPr>
          </a:lstStyle>
          <a:p>
            <a:fld id="{CEBB7B99-FC57-4A9F-B856-BF43A6C2F7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146704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8135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135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r">
              <a:defRPr sz="1200"/>
            </a:lvl1pPr>
          </a:lstStyle>
          <a:p>
            <a:fld id="{BFB5677D-845A-4930-A020-FE65A054C6BB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6" rIns="91294" bIns="4564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60"/>
            <a:ext cx="5438140" cy="3909238"/>
          </a:xfrm>
          <a:prstGeom prst="rect">
            <a:avLst/>
          </a:prstGeom>
        </p:spPr>
        <p:txBody>
          <a:bodyPr vert="horz" lIns="91294" tIns="45646" rIns="91294" bIns="4564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30093"/>
            <a:ext cx="2945659" cy="498134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3"/>
            <a:ext cx="2945659" cy="498134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r">
              <a:defRPr sz="1200"/>
            </a:lvl1pPr>
          </a:lstStyle>
          <a:p>
            <a:fld id="{E95ED919-E830-42B8-A39A-E08B276CCBC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03794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E9107-E3D2-4922-80B2-EC56C9EBF9C3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22E92-54BE-420A-A282-81042B36A0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147147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E9107-E3D2-4922-80B2-EC56C9EBF9C3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22E92-54BE-420A-A282-81042B36A0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982464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E9107-E3D2-4922-80B2-EC56C9EBF9C3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22E92-54BE-420A-A282-81042B36A0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645625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1" cy="2387600"/>
          </a:xfrm>
        </p:spPr>
        <p:txBody>
          <a:bodyPr anchor="b"/>
          <a:lstStyle>
            <a:lvl1pPr algn="ctr">
              <a:defRPr sz="5404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1" cy="1655762"/>
          </a:xfrm>
        </p:spPr>
        <p:txBody>
          <a:bodyPr/>
          <a:lstStyle>
            <a:lvl1pPr marL="0" indent="0" algn="ctr">
              <a:buNone/>
              <a:defRPr sz="2162"/>
            </a:lvl1pPr>
            <a:lvl2pPr marL="411800" indent="0" algn="ctr">
              <a:buNone/>
              <a:defRPr sz="1801"/>
            </a:lvl2pPr>
            <a:lvl3pPr marL="823600" indent="0" algn="ctr">
              <a:buNone/>
              <a:defRPr sz="1621"/>
            </a:lvl3pPr>
            <a:lvl4pPr marL="1235400" indent="0" algn="ctr">
              <a:buNone/>
              <a:defRPr sz="1441"/>
            </a:lvl4pPr>
            <a:lvl5pPr marL="1647200" indent="0" algn="ctr">
              <a:buNone/>
              <a:defRPr sz="1441"/>
            </a:lvl5pPr>
            <a:lvl6pPr marL="2059000" indent="0" algn="ctr">
              <a:buNone/>
              <a:defRPr sz="1441"/>
            </a:lvl6pPr>
            <a:lvl7pPr marL="2470800" indent="0" algn="ctr">
              <a:buNone/>
              <a:defRPr sz="1441"/>
            </a:lvl7pPr>
            <a:lvl8pPr marL="2882600" indent="0" algn="ctr">
              <a:buNone/>
              <a:defRPr sz="1441"/>
            </a:lvl8pPr>
            <a:lvl9pPr marL="3294400" indent="0" algn="ctr">
              <a:buNone/>
              <a:defRPr sz="1441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44E6C-4160-4FE2-BF05-88012CB6FF0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FC7377-D404-49F6-9F44-4A12884D043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0597284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CDA89-7FC3-4CD2-BC5E-B4ABFE0DA1E4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2659D8-E24A-4C97-8601-F1B6D261B6C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25514175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1" cy="2852737"/>
          </a:xfrm>
        </p:spPr>
        <p:txBody>
          <a:bodyPr anchor="b"/>
          <a:lstStyle>
            <a:lvl1pPr>
              <a:defRPr sz="5404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1" cy="1500187"/>
          </a:xfrm>
        </p:spPr>
        <p:txBody>
          <a:bodyPr/>
          <a:lstStyle>
            <a:lvl1pPr marL="0" indent="0">
              <a:buNone/>
              <a:defRPr sz="2162">
                <a:solidFill>
                  <a:schemeClr val="tx1">
                    <a:tint val="75000"/>
                  </a:schemeClr>
                </a:solidFill>
              </a:defRPr>
            </a:lvl1pPr>
            <a:lvl2pPr marL="411800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2pPr>
            <a:lvl3pPr marL="823600" indent="0">
              <a:buNone/>
              <a:defRPr sz="1621">
                <a:solidFill>
                  <a:schemeClr val="tx1">
                    <a:tint val="75000"/>
                  </a:schemeClr>
                </a:solidFill>
              </a:defRPr>
            </a:lvl3pPr>
            <a:lvl4pPr marL="1235400" indent="0">
              <a:buNone/>
              <a:defRPr sz="1441">
                <a:solidFill>
                  <a:schemeClr val="tx1">
                    <a:tint val="75000"/>
                  </a:schemeClr>
                </a:solidFill>
              </a:defRPr>
            </a:lvl4pPr>
            <a:lvl5pPr marL="1647200" indent="0">
              <a:buNone/>
              <a:defRPr sz="1441">
                <a:solidFill>
                  <a:schemeClr val="tx1">
                    <a:tint val="75000"/>
                  </a:schemeClr>
                </a:solidFill>
              </a:defRPr>
            </a:lvl5pPr>
            <a:lvl6pPr marL="2059000" indent="0">
              <a:buNone/>
              <a:defRPr sz="1441">
                <a:solidFill>
                  <a:schemeClr val="tx1">
                    <a:tint val="75000"/>
                  </a:schemeClr>
                </a:solidFill>
              </a:defRPr>
            </a:lvl6pPr>
            <a:lvl7pPr marL="2470800" indent="0">
              <a:buNone/>
              <a:defRPr sz="1441">
                <a:solidFill>
                  <a:schemeClr val="tx1">
                    <a:tint val="75000"/>
                  </a:schemeClr>
                </a:solidFill>
              </a:defRPr>
            </a:lvl7pPr>
            <a:lvl8pPr marL="2882600" indent="0">
              <a:buNone/>
              <a:defRPr sz="1441">
                <a:solidFill>
                  <a:schemeClr val="tx1">
                    <a:tint val="75000"/>
                  </a:schemeClr>
                </a:solidFill>
              </a:defRPr>
            </a:lvl8pPr>
            <a:lvl9pPr marL="3294400" indent="0">
              <a:buNone/>
              <a:defRPr sz="144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D4AACE-7DC2-4E4D-B674-B7E7B90B1A26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B3118-7A5A-4CAF-997B-06068D46403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41744883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68CAA2-A519-4380-85E9-DDA8B201342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45835B-A0F6-4EA9-ACB7-B971FCE8C00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8926843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1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162" b="1"/>
            </a:lvl1pPr>
            <a:lvl2pPr marL="411800" indent="0">
              <a:buNone/>
              <a:defRPr sz="1801" b="1"/>
            </a:lvl2pPr>
            <a:lvl3pPr marL="823600" indent="0">
              <a:buNone/>
              <a:defRPr sz="1621" b="1"/>
            </a:lvl3pPr>
            <a:lvl4pPr marL="1235400" indent="0">
              <a:buNone/>
              <a:defRPr sz="1441" b="1"/>
            </a:lvl4pPr>
            <a:lvl5pPr marL="1647200" indent="0">
              <a:buNone/>
              <a:defRPr sz="1441" b="1"/>
            </a:lvl5pPr>
            <a:lvl6pPr marL="2059000" indent="0">
              <a:buNone/>
              <a:defRPr sz="1441" b="1"/>
            </a:lvl6pPr>
            <a:lvl7pPr marL="2470800" indent="0">
              <a:buNone/>
              <a:defRPr sz="1441" b="1"/>
            </a:lvl7pPr>
            <a:lvl8pPr marL="2882600" indent="0">
              <a:buNone/>
              <a:defRPr sz="1441" b="1"/>
            </a:lvl8pPr>
            <a:lvl9pPr marL="3294400" indent="0">
              <a:buNone/>
              <a:defRPr sz="1441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162" b="1"/>
            </a:lvl1pPr>
            <a:lvl2pPr marL="411800" indent="0">
              <a:buNone/>
              <a:defRPr sz="1801" b="1"/>
            </a:lvl2pPr>
            <a:lvl3pPr marL="823600" indent="0">
              <a:buNone/>
              <a:defRPr sz="1621" b="1"/>
            </a:lvl3pPr>
            <a:lvl4pPr marL="1235400" indent="0">
              <a:buNone/>
              <a:defRPr sz="1441" b="1"/>
            </a:lvl4pPr>
            <a:lvl5pPr marL="1647200" indent="0">
              <a:buNone/>
              <a:defRPr sz="1441" b="1"/>
            </a:lvl5pPr>
            <a:lvl6pPr marL="2059000" indent="0">
              <a:buNone/>
              <a:defRPr sz="1441" b="1"/>
            </a:lvl6pPr>
            <a:lvl7pPr marL="2470800" indent="0">
              <a:buNone/>
              <a:defRPr sz="1441" b="1"/>
            </a:lvl7pPr>
            <a:lvl8pPr marL="2882600" indent="0">
              <a:buNone/>
              <a:defRPr sz="1441" b="1"/>
            </a:lvl8pPr>
            <a:lvl9pPr marL="3294400" indent="0">
              <a:buNone/>
              <a:defRPr sz="1441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B2E175-19E1-4580-9996-15DFB3DA494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0EABFD-3989-4DF6-94DE-11C23CCEA23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6684579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C83B5A-68BF-440E-AFC9-0BE4BB1C0C9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F259E4-4049-4251-B9BF-7BDE764F602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2502303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B8AC73-FC96-4FA3-8F22-57582DA739F6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B40FF1-704E-42D8-932C-50431C9D54C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26466181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88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2" y="987427"/>
            <a:ext cx="4629150" cy="4873625"/>
          </a:xfrm>
        </p:spPr>
        <p:txBody>
          <a:bodyPr/>
          <a:lstStyle>
            <a:lvl1pPr>
              <a:defRPr sz="2882"/>
            </a:lvl1pPr>
            <a:lvl2pPr>
              <a:defRPr sz="2522"/>
            </a:lvl2pPr>
            <a:lvl3pPr>
              <a:defRPr sz="2162"/>
            </a:lvl3pPr>
            <a:lvl4pPr>
              <a:defRPr sz="1801"/>
            </a:lvl4pPr>
            <a:lvl5pPr>
              <a:defRPr sz="1801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441"/>
            </a:lvl1pPr>
            <a:lvl2pPr marL="411800" indent="0">
              <a:buNone/>
              <a:defRPr sz="1261"/>
            </a:lvl2pPr>
            <a:lvl3pPr marL="823600" indent="0">
              <a:buNone/>
              <a:defRPr sz="1081"/>
            </a:lvl3pPr>
            <a:lvl4pPr marL="1235400" indent="0">
              <a:buNone/>
              <a:defRPr sz="901"/>
            </a:lvl4pPr>
            <a:lvl5pPr marL="1647200" indent="0">
              <a:buNone/>
              <a:defRPr sz="901"/>
            </a:lvl5pPr>
            <a:lvl6pPr marL="2059000" indent="0">
              <a:buNone/>
              <a:defRPr sz="901"/>
            </a:lvl6pPr>
            <a:lvl7pPr marL="2470800" indent="0">
              <a:buNone/>
              <a:defRPr sz="901"/>
            </a:lvl7pPr>
            <a:lvl8pPr marL="2882600" indent="0">
              <a:buNone/>
              <a:defRPr sz="901"/>
            </a:lvl8pPr>
            <a:lvl9pPr marL="3294400" indent="0">
              <a:buNone/>
              <a:defRPr sz="90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26954B-E1C2-4D33-8E9F-556B83A070D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3BEF3D-A45B-433C-8563-5481DB45F5F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666631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E9107-E3D2-4922-80B2-EC56C9EBF9C3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22E92-54BE-420A-A282-81042B36A0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65350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88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2" y="987427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882"/>
            </a:lvl1pPr>
            <a:lvl2pPr marL="411800" indent="0">
              <a:buNone/>
              <a:defRPr sz="2522"/>
            </a:lvl2pPr>
            <a:lvl3pPr marL="823600" indent="0">
              <a:buNone/>
              <a:defRPr sz="2162"/>
            </a:lvl3pPr>
            <a:lvl4pPr marL="1235400" indent="0">
              <a:buNone/>
              <a:defRPr sz="1801"/>
            </a:lvl4pPr>
            <a:lvl5pPr marL="1647200" indent="0">
              <a:buNone/>
              <a:defRPr sz="1801"/>
            </a:lvl5pPr>
            <a:lvl6pPr marL="2059000" indent="0">
              <a:buNone/>
              <a:defRPr sz="1801"/>
            </a:lvl6pPr>
            <a:lvl7pPr marL="2470800" indent="0">
              <a:buNone/>
              <a:defRPr sz="1801"/>
            </a:lvl7pPr>
            <a:lvl8pPr marL="2882600" indent="0">
              <a:buNone/>
              <a:defRPr sz="1801"/>
            </a:lvl8pPr>
            <a:lvl9pPr marL="3294400" indent="0">
              <a:buNone/>
              <a:defRPr sz="1801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441"/>
            </a:lvl1pPr>
            <a:lvl2pPr marL="411800" indent="0">
              <a:buNone/>
              <a:defRPr sz="1261"/>
            </a:lvl2pPr>
            <a:lvl3pPr marL="823600" indent="0">
              <a:buNone/>
              <a:defRPr sz="1081"/>
            </a:lvl3pPr>
            <a:lvl4pPr marL="1235400" indent="0">
              <a:buNone/>
              <a:defRPr sz="901"/>
            </a:lvl4pPr>
            <a:lvl5pPr marL="1647200" indent="0">
              <a:buNone/>
              <a:defRPr sz="901"/>
            </a:lvl5pPr>
            <a:lvl6pPr marL="2059000" indent="0">
              <a:buNone/>
              <a:defRPr sz="901"/>
            </a:lvl6pPr>
            <a:lvl7pPr marL="2470800" indent="0">
              <a:buNone/>
              <a:defRPr sz="901"/>
            </a:lvl7pPr>
            <a:lvl8pPr marL="2882600" indent="0">
              <a:buNone/>
              <a:defRPr sz="901"/>
            </a:lvl8pPr>
            <a:lvl9pPr marL="3294400" indent="0">
              <a:buNone/>
              <a:defRPr sz="90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8CF24D-DE85-4EE9-A14C-53B0A1C26D9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352AE7-F24C-42CB-AF1C-AF972D18964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28865474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035815-911E-42D1-8E74-E91D598E178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D564BC-A150-48D4-8AEE-56AD9CF4E97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4642568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6EF98E-EB36-4C62-87DF-BB2B025D400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8A2F31-0AEC-4831-AE7A-56FA4D6F065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6085437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4530"/>
            <a:ext cx="6858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224893-DBDA-4BFA-9CE1-4BFE7CD0F8CF}" type="datetime1">
              <a:rPr lang="ru-RU" smtClean="0">
                <a:solidFill>
                  <a:prstClr val="white">
                    <a:lumMod val="65000"/>
                    <a:lumOff val="35000"/>
                  </a:prstClr>
                </a:solidFill>
              </a:rPr>
              <a:pPr/>
              <a:t>18.05.2017</a:t>
            </a:fld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ru-RU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119130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D3E9E-A95C-48F2-B4BF-A71542E0BE9A}" type="datetime1">
              <a:rPr lang="ru-RU" smtClean="0">
                <a:solidFill>
                  <a:prstClr val="white">
                    <a:lumMod val="65000"/>
                    <a:lumOff val="35000"/>
                  </a:prstClr>
                </a:solidFill>
              </a:rPr>
              <a:pPr/>
              <a:t>18.05.2017</a:t>
            </a:fld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ru-RU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60538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12423"/>
            <a:ext cx="78867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52634"/>
            <a:ext cx="78867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0F84E2-2D7A-43CF-AC90-352A289A783A}" type="datetime1">
              <a:rPr lang="ru-RU" smtClean="0">
                <a:solidFill>
                  <a:prstClr val="white">
                    <a:lumMod val="65000"/>
                    <a:lumOff val="35000"/>
                  </a:prstClr>
                </a:solidFill>
              </a:rPr>
              <a:pPr/>
              <a:t>18.05.2017</a:t>
            </a:fld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ru-RU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113297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8801"/>
            <a:ext cx="3886200" cy="4351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8801"/>
            <a:ext cx="3886200" cy="4351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952B5-7A2F-4CC8-B7CE-9234E21C2837}" type="datetime1">
              <a:rPr lang="ru-RU" smtClean="0">
                <a:solidFill>
                  <a:prstClr val="white">
                    <a:lumMod val="65000"/>
                    <a:lumOff val="35000"/>
                  </a:prstClr>
                </a:solidFill>
              </a:rPr>
              <a:pPr/>
              <a:t>18.05.2017</a:t>
            </a:fld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ru-RU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41775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936" y="1681851"/>
            <a:ext cx="3867150" cy="731520"/>
          </a:xfrm>
        </p:spPr>
        <p:txBody>
          <a:bodyPr anchor="b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936" y="2507550"/>
            <a:ext cx="3867150" cy="372825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61299" y="1681851"/>
            <a:ext cx="3868340" cy="73152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61299" y="2507550"/>
            <a:ext cx="3868340" cy="372825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1DA07A-9201-4B4B-BAF2-015AFA30F520}" type="datetime1">
              <a:rPr lang="ru-RU" smtClean="0">
                <a:solidFill>
                  <a:prstClr val="white">
                    <a:lumMod val="65000"/>
                    <a:lumOff val="35000"/>
                  </a:prstClr>
                </a:solidFill>
              </a:rPr>
              <a:pPr/>
              <a:t>18.05.2017</a:t>
            </a:fld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ru-RU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975041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7E00A-486F-4252-8B1D-E32645521F49}" type="datetime1">
              <a:rPr lang="ru-RU" smtClean="0">
                <a:solidFill>
                  <a:prstClr val="white">
                    <a:lumMod val="65000"/>
                    <a:lumOff val="35000"/>
                  </a:prstClr>
                </a:solidFill>
              </a:rPr>
              <a:pPr/>
              <a:t>18.05.2017</a:t>
            </a:fld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ru-RU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80496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F5F92-E675-4B36-9A60-69A962A68675}" type="datetime1">
              <a:rPr lang="ru-RU" smtClean="0">
                <a:solidFill>
                  <a:prstClr val="white">
                    <a:lumMod val="65000"/>
                    <a:lumOff val="35000"/>
                  </a:prstClr>
                </a:solidFill>
              </a:rPr>
              <a:pPr/>
              <a:t>18.05.2017</a:t>
            </a:fld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ru-RU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484482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E9107-E3D2-4922-80B2-EC56C9EBF9C3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22E92-54BE-420A-A282-81042B36A0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134826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936" y="457201"/>
            <a:ext cx="294894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6200" y="990600"/>
            <a:ext cx="4529613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936" y="2057399"/>
            <a:ext cx="2948940" cy="38100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E2C9B-5FA2-460D-9BE7-B0812FC2A6FF}" type="datetime1">
              <a:rPr lang="ru-RU" smtClean="0">
                <a:solidFill>
                  <a:prstClr val="white">
                    <a:lumMod val="65000"/>
                    <a:lumOff val="35000"/>
                  </a:prstClr>
                </a:solidFill>
              </a:rPr>
              <a:pPr/>
              <a:t>18.05.2017</a:t>
            </a:fld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ru-RU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27815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936" y="457200"/>
            <a:ext cx="294894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6200" y="990600"/>
            <a:ext cx="4530852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936" y="2057400"/>
            <a:ext cx="2948940" cy="3810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374940-A916-4C8B-9648-02A2D3898F9E}" type="datetime1">
              <a:rPr lang="ru-RU" smtClean="0">
                <a:solidFill>
                  <a:prstClr val="white">
                    <a:lumMod val="65000"/>
                    <a:lumOff val="35000"/>
                  </a:prstClr>
                </a:solidFill>
              </a:rPr>
              <a:pPr/>
              <a:t>18.05.2017</a:t>
            </a:fld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ru-RU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04708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4E5243-F52A-4D37-9694-EB26C6C31910}" type="datetime1">
              <a:rPr lang="ru-RU" smtClean="0">
                <a:solidFill>
                  <a:prstClr val="white">
                    <a:lumMod val="65000"/>
                    <a:lumOff val="35000"/>
                  </a:prstClr>
                </a:solidFill>
              </a:rPr>
              <a:pPr/>
              <a:t>18.05.2017</a:t>
            </a:fld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ru-RU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146355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58975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800725" cy="58975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77B6E1-634A-48DC-9E8B-D894023267EF}" type="datetime1">
              <a:rPr lang="ru-RU" smtClean="0">
                <a:solidFill>
                  <a:prstClr val="white">
                    <a:lumMod val="65000"/>
                    <a:lumOff val="35000"/>
                  </a:prstClr>
                </a:solidFill>
              </a:rPr>
              <a:pPr/>
              <a:t>18.05.2017</a:t>
            </a:fld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ru-RU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45189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E9107-E3D2-4922-80B2-EC56C9EBF9C3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22E92-54BE-420A-A282-81042B36A0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97721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E9107-E3D2-4922-80B2-EC56C9EBF9C3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22E92-54BE-420A-A282-81042B36A0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483852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E9107-E3D2-4922-80B2-EC56C9EBF9C3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22E92-54BE-420A-A282-81042B36A0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792988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E9107-E3D2-4922-80B2-EC56C9EBF9C3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22E92-54BE-420A-A282-81042B36A0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17175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E9107-E3D2-4922-80B2-EC56C9EBF9C3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22E92-54BE-420A-A282-81042B36A0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79886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BE9107-E3D2-4922-80B2-EC56C9EBF9C3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A22E92-54BE-420A-A282-81042B36A0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916364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BE9107-E3D2-4922-80B2-EC56C9EBF9C3}" type="datetimeFigureOut">
              <a:rPr lang="ru-RU" smtClean="0"/>
              <a:pPr/>
              <a:t>18.05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A22E92-54BE-420A-A282-81042B36A0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30125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29253" y="365126"/>
            <a:ext cx="7885494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9253" y="1825625"/>
            <a:ext cx="7885494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9254" y="6356352"/>
            <a:ext cx="20569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81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6B3E17E-2E54-4C0B-A463-5672877E66FF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8.05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612" y="6356352"/>
            <a:ext cx="3086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81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777" y="6356352"/>
            <a:ext cx="205697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64117DC-5FBA-4539-9891-BD63A51EF294}" type="slidenum">
              <a:rPr lang="ru-RU" altLang="ru-RU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2923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8223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9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223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 Light" pitchFamily="34" charset="0"/>
        </a:defRPr>
      </a:lvl2pPr>
      <a:lvl3pPr algn="l" defTabSz="8223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 Light" pitchFamily="34" charset="0"/>
        </a:defRPr>
      </a:lvl3pPr>
      <a:lvl4pPr algn="l" defTabSz="8223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 Light" pitchFamily="34" charset="0"/>
        </a:defRPr>
      </a:lvl4pPr>
      <a:lvl5pPr algn="l" defTabSz="82232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 Light" pitchFamily="34" charset="0"/>
        </a:defRPr>
      </a:lvl5pPr>
      <a:lvl6pPr marL="457200" algn="l" defTabSz="822325" rtl="0" fontAlgn="base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 Light" pitchFamily="34" charset="0"/>
        </a:defRPr>
      </a:lvl6pPr>
      <a:lvl7pPr marL="914400" algn="l" defTabSz="822325" rtl="0" fontAlgn="base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 Light" pitchFamily="34" charset="0"/>
        </a:defRPr>
      </a:lvl7pPr>
      <a:lvl8pPr marL="1371600" algn="l" defTabSz="822325" rtl="0" fontAlgn="base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 Light" pitchFamily="34" charset="0"/>
        </a:defRPr>
      </a:lvl8pPr>
      <a:lvl9pPr marL="1828800" algn="l" defTabSz="822325" rtl="0" fontAlgn="base">
        <a:lnSpc>
          <a:spcPct val="90000"/>
        </a:lnSpc>
        <a:spcBef>
          <a:spcPct val="0"/>
        </a:spcBef>
        <a:spcAft>
          <a:spcPct val="0"/>
        </a:spcAft>
        <a:defRPr sz="3900">
          <a:solidFill>
            <a:schemeClr val="tx1"/>
          </a:solidFill>
          <a:latin typeface="Calibri Light" pitchFamily="34" charset="0"/>
        </a:defRPr>
      </a:lvl9pPr>
    </p:titleStyle>
    <p:bodyStyle>
      <a:lvl1pPr marL="204788" indent="-204788" algn="l" defTabSz="822325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17538" indent="-204788" algn="l" defTabSz="822325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4788" algn="l" defTabSz="822325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439863" indent="-204788" algn="l" defTabSz="822325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52613" indent="-204788" algn="l" defTabSz="822325" rtl="0" eaLnBrk="0" fontAlgn="base" hangingPunct="0">
        <a:lnSpc>
          <a:spcPct val="90000"/>
        </a:lnSpc>
        <a:spcBef>
          <a:spcPts val="45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900" indent="-205900" algn="l" defTabSz="8236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1" kern="1200">
          <a:solidFill>
            <a:schemeClr val="tx1"/>
          </a:solidFill>
          <a:latin typeface="+mn-lt"/>
          <a:ea typeface="+mn-ea"/>
          <a:cs typeface="+mn-cs"/>
        </a:defRPr>
      </a:lvl6pPr>
      <a:lvl7pPr marL="2676700" indent="-205900" algn="l" defTabSz="8236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1" kern="1200">
          <a:solidFill>
            <a:schemeClr val="tx1"/>
          </a:solidFill>
          <a:latin typeface="+mn-lt"/>
          <a:ea typeface="+mn-ea"/>
          <a:cs typeface="+mn-cs"/>
        </a:defRPr>
      </a:lvl7pPr>
      <a:lvl8pPr marL="3088500" indent="-205900" algn="l" defTabSz="8236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1" kern="1200">
          <a:solidFill>
            <a:schemeClr val="tx1"/>
          </a:solidFill>
          <a:latin typeface="+mn-lt"/>
          <a:ea typeface="+mn-ea"/>
          <a:cs typeface="+mn-cs"/>
        </a:defRPr>
      </a:lvl8pPr>
      <a:lvl9pPr marL="3500300" indent="-205900" algn="l" defTabSz="8236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3600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1pPr>
      <a:lvl2pPr marL="411800" algn="l" defTabSz="823600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2pPr>
      <a:lvl3pPr marL="823600" algn="l" defTabSz="823600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3pPr>
      <a:lvl4pPr marL="1235400" algn="l" defTabSz="823600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4pPr>
      <a:lvl5pPr marL="1647200" algn="l" defTabSz="823600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5pPr>
      <a:lvl6pPr marL="2059000" algn="l" defTabSz="823600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6pPr>
      <a:lvl7pPr marL="2470800" algn="l" defTabSz="823600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7pPr>
      <a:lvl8pPr marL="2882600" algn="l" defTabSz="823600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8pPr>
      <a:lvl9pPr marL="3294400" algn="l" defTabSz="823600" rtl="0" eaLnBrk="1" latinLnBrk="0" hangingPunct="1">
        <a:defRPr sz="16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845" y="365760"/>
            <a:ext cx="78867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3845" y="1828801"/>
            <a:ext cx="78867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586B75A-687E-405C-8A0B-8D00578BA2C3}" type="datetime1">
              <a:rPr lang="ru-RU" smtClean="0">
                <a:solidFill>
                  <a:prstClr val="white">
                    <a:lumMod val="65000"/>
                    <a:lumOff val="35000"/>
                  </a:prstClr>
                </a:solidFill>
              </a:rPr>
              <a:pPr/>
              <a:t>18.05.2017</a:t>
            </a:fld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ru-RU" dirty="0">
              <a:solidFill>
                <a:prstClr val="white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63145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AB73BC-B049-4115-A692-8D63A059BFB8}" type="slidenum">
              <a:rPr lang="ru-RU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651640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SzPct val="80000"/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image" Target="../media/image57.png"/><Relationship Id="rId2" Type="http://schemas.openxmlformats.org/officeDocument/2006/relationships/tags" Target="../tags/tag16.xml"/><Relationship Id="rId16" Type="http://schemas.openxmlformats.org/officeDocument/2006/relationships/image" Target="../media/image56.png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5" Type="http://schemas.openxmlformats.org/officeDocument/2006/relationships/tags" Target="../tags/tag19.xml"/><Relationship Id="rId15" Type="http://schemas.openxmlformats.org/officeDocument/2006/relationships/slideLayout" Target="../slideLayouts/slideLayout13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8.png"/><Relationship Id="rId3" Type="http://schemas.openxmlformats.org/officeDocument/2006/relationships/image" Target="../media/image59.jpeg"/><Relationship Id="rId7" Type="http://schemas.openxmlformats.org/officeDocument/2006/relationships/image" Target="../media/image63.png"/><Relationship Id="rId12" Type="http://schemas.openxmlformats.org/officeDocument/2006/relationships/image" Target="../media/image67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2.jpeg"/><Relationship Id="rId11" Type="http://schemas.openxmlformats.org/officeDocument/2006/relationships/image" Target="../media/image66.jpeg"/><Relationship Id="rId5" Type="http://schemas.openxmlformats.org/officeDocument/2006/relationships/image" Target="../media/image61.jpeg"/><Relationship Id="rId10" Type="http://schemas.openxmlformats.org/officeDocument/2006/relationships/hyperlink" Target="http://www.google.ru/url?sa=i&amp;rct=j&amp;q=&amp;esrc=s&amp;source=imgres&amp;cd=&amp;cad=rja&amp;uact=8&amp;ved=0ahUKEwj_y_nqhoDTAhWFlSwKHcngA_kQjRwIBw&amp;url=http://www.rosatom.ru/en/press-centre/corporate-identity/&amp;psig=AFQjCNHixTtukHbdjC3YpeDorJvUQUucUw&amp;ust=1491026001389922" TargetMode="External"/><Relationship Id="rId4" Type="http://schemas.openxmlformats.org/officeDocument/2006/relationships/image" Target="../media/image60.jpeg"/><Relationship Id="rId9" Type="http://schemas.openxmlformats.org/officeDocument/2006/relationships/image" Target="../media/image6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7.png"/><Relationship Id="rId7" Type="http://schemas.openxmlformats.org/officeDocument/2006/relationships/image" Target="../media/image79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6.jpeg"/><Relationship Id="rId5" Type="http://schemas.openxmlformats.org/officeDocument/2006/relationships/hyperlink" Target="http://www.google.ru/url?sa=i&amp;rct=j&amp;q=&amp;esrc=s&amp;source=imgres&amp;cd=&amp;cad=rja&amp;uact=8&amp;ved=0ahUKEwj_y_nqhoDTAhWFlSwKHcngA_kQjRwIBw&amp;url=http://www.rosatom.ru/en/press-centre/corporate-identity/&amp;psig=AFQjCNHixTtukHbdjC3YpeDorJvUQUucUw&amp;ust=1491026001389922" TargetMode="External"/><Relationship Id="rId4" Type="http://schemas.openxmlformats.org/officeDocument/2006/relationships/image" Target="../media/image7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2.png"/><Relationship Id="rId2" Type="http://schemas.openxmlformats.org/officeDocument/2006/relationships/tags" Target="../tags/tag2.xml"/><Relationship Id="rId16" Type="http://schemas.openxmlformats.org/officeDocument/2006/relationships/chart" Target="../charts/chart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jpeg"/><Relationship Id="rId18" Type="http://schemas.openxmlformats.org/officeDocument/2006/relationships/image" Target="../media/image19.png"/><Relationship Id="rId3" Type="http://schemas.openxmlformats.org/officeDocument/2006/relationships/image" Target="../media/image4.jpeg"/><Relationship Id="rId21" Type="http://schemas.openxmlformats.org/officeDocument/2006/relationships/image" Target="../media/image21.jpe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gif"/><Relationship Id="rId2" Type="http://schemas.openxmlformats.org/officeDocument/2006/relationships/image" Target="../media/image3.png"/><Relationship Id="rId16" Type="http://schemas.openxmlformats.org/officeDocument/2006/relationships/image" Target="../media/image17.gif"/><Relationship Id="rId20" Type="http://schemas.openxmlformats.org/officeDocument/2006/relationships/hyperlink" Target="http://www.google.ru/url?sa=i&amp;rct=j&amp;q=&amp;esrc=s&amp;source=imgres&amp;cd=&amp;cad=rja&amp;uact=8&amp;ved=0ahUKEwj_y_nqhoDTAhWFlSwKHcngA_kQjRwIBw&amp;url=http://www.rosatom.ru/en/press-centre/corporate-identity/&amp;psig=AFQjCNHixTtukHbdjC3YpeDorJvUQUucUw&amp;ust=1491026001389922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jpeg"/><Relationship Id="rId15" Type="http://schemas.openxmlformats.org/officeDocument/2006/relationships/image" Target="../media/image16.png"/><Relationship Id="rId10" Type="http://schemas.openxmlformats.org/officeDocument/2006/relationships/image" Target="../media/image11.jpeg"/><Relationship Id="rId19" Type="http://schemas.openxmlformats.org/officeDocument/2006/relationships/image" Target="../media/image20.png"/><Relationship Id="rId4" Type="http://schemas.openxmlformats.org/officeDocument/2006/relationships/image" Target="../media/image5.jpeg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7.jpeg"/><Relationship Id="rId18" Type="http://schemas.openxmlformats.org/officeDocument/2006/relationships/image" Target="../media/image42.jpeg"/><Relationship Id="rId3" Type="http://schemas.openxmlformats.org/officeDocument/2006/relationships/diagramData" Target="../diagrams/data1.xml"/><Relationship Id="rId21" Type="http://schemas.openxmlformats.org/officeDocument/2006/relationships/image" Target="../media/image45.jpeg"/><Relationship Id="rId7" Type="http://schemas.microsoft.com/office/2007/relationships/diagramDrawing" Target="../diagrams/drawing1.xml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0.png"/><Relationship Id="rId20" Type="http://schemas.openxmlformats.org/officeDocument/2006/relationships/image" Target="../media/image44.jpeg"/><Relationship Id="rId1" Type="http://schemas.openxmlformats.org/officeDocument/2006/relationships/themeOverride" Target="../theme/themeOverride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35.jpe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39.jpeg"/><Relationship Id="rId10" Type="http://schemas.openxmlformats.org/officeDocument/2006/relationships/image" Target="../media/image34.png"/><Relationship Id="rId19" Type="http://schemas.openxmlformats.org/officeDocument/2006/relationships/image" Target="../media/image43.png"/><Relationship Id="rId4" Type="http://schemas.openxmlformats.org/officeDocument/2006/relationships/diagramLayout" Target="../diagrams/layout1.xml"/><Relationship Id="rId9" Type="http://schemas.microsoft.com/office/2007/relationships/hdphoto" Target="../media/hdphoto1.wdp"/><Relationship Id="rId1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252518" y="6410589"/>
            <a:ext cx="26365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сы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7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33800" y="434340"/>
            <a:ext cx="1607819" cy="154686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67279" y="3227308"/>
            <a:ext cx="58070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ҮКІМЕТТІК САҒАТ</a:t>
            </a:r>
            <a:endParaRPr lang="ru-RU" sz="28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3892638"/>
            <a:ext cx="9144000" cy="1384995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 smtClean="0"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00" b="1" dirty="0" smtClean="0">
                <a:latin typeface="Arial" pitchFamily="34" charset="0"/>
                <a:cs typeface="Arial" pitchFamily="34" charset="0"/>
              </a:rPr>
              <a:t>УРАН </a:t>
            </a:r>
            <a:r>
              <a:rPr lang="ru-RU" sz="3600" b="1" dirty="0" smtClean="0">
                <a:latin typeface="Arial" pitchFamily="34" charset="0"/>
                <a:cs typeface="Arial" pitchFamily="34" charset="0"/>
              </a:rPr>
              <a:t>ӨНЕРКӘСІБІН</a:t>
            </a:r>
            <a:r>
              <a:rPr lang="kk-KZ" sz="3600" b="1" dirty="0" smtClean="0">
                <a:latin typeface="Arial" pitchFamily="34" charset="0"/>
                <a:cs typeface="Arial" pitchFamily="34" charset="0"/>
              </a:rPr>
              <a:t>ІҢ</a:t>
            </a:r>
            <a:r>
              <a:rPr lang="ru-RU" sz="3600" b="1" smtClean="0">
                <a:latin typeface="Arial" pitchFamily="34" charset="0"/>
                <a:cs typeface="Arial" pitchFamily="34" charset="0"/>
              </a:rPr>
              <a:t> ДАМУЫ </a:t>
            </a:r>
            <a:r>
              <a:rPr lang="ru-RU" sz="3600" b="1" dirty="0" smtClean="0">
                <a:latin typeface="Arial" pitchFamily="34" charset="0"/>
                <a:cs typeface="Arial" pitchFamily="34" charset="0"/>
              </a:rPr>
              <a:t>ТУРАЛ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927947" y="2066048"/>
            <a:ext cx="328569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 Республикасы</a:t>
            </a:r>
            <a:endParaRPr lang="ru-RU" sz="2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етика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лігі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3197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31"/>
          <p:cNvSpPr/>
          <p:nvPr/>
        </p:nvSpPr>
        <p:spPr>
          <a:xfrm>
            <a:off x="0" y="6565103"/>
            <a:ext cx="9144000" cy="295334"/>
          </a:xfrm>
          <a:prstGeom prst="rect">
            <a:avLst/>
          </a:prstGeom>
          <a:solidFill>
            <a:schemeClr val="accent1">
              <a:lumMod val="40000"/>
              <a:lumOff val="6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400" dirty="0" smtClean="0">
              <a:solidFill>
                <a:prstClr val="white">
                  <a:lumMod val="95000"/>
                </a:prstClr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5576" y="679992"/>
            <a:ext cx="2456744" cy="0"/>
          </a:xfrm>
          <a:prstGeom prst="rect">
            <a:avLst/>
          </a:prstGeom>
        </p:spPr>
      </p:pic>
      <p:sp>
        <p:nvSpPr>
          <p:cNvPr id="33" name="Пятиугольник 32"/>
          <p:cNvSpPr/>
          <p:nvPr/>
        </p:nvSpPr>
        <p:spPr>
          <a:xfrm>
            <a:off x="147017" y="967304"/>
            <a:ext cx="3400471" cy="2776302"/>
          </a:xfrm>
          <a:prstGeom prst="homePlate">
            <a:avLst>
              <a:gd name="adj" fmla="val 12777"/>
            </a:avLst>
          </a:prstGeom>
          <a:gradFill flip="none" rotWithShape="1">
            <a:gsLst>
              <a:gs pos="0">
                <a:schemeClr val="accent6">
                  <a:lumMod val="50000"/>
                  <a:shade val="30000"/>
                  <a:satMod val="115000"/>
                </a:schemeClr>
              </a:gs>
              <a:gs pos="50000">
                <a:schemeClr val="accent6">
                  <a:lumMod val="50000"/>
                  <a:shade val="67500"/>
                  <a:satMod val="115000"/>
                </a:schemeClr>
              </a:gs>
              <a:gs pos="100000">
                <a:schemeClr val="accent6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333696" y="2912609"/>
            <a:ext cx="29952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itchFamily="34" charset="0"/>
              </a:rPr>
              <a:t>ПЕРЕДИСЛОКАЦИЯ ОФИСОВ ИЗ АЛМАТЫ В УРАНОДОБЫВАЮЩИЕ РЕГИОНЫ – В КЫЗЫЛОРДИНСКУЮ И ЮЖНО-КАЗАХСТАНСКУЮ ОБЛАСТИ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763027" y="930812"/>
            <a:ext cx="5081558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533400">
              <a:spcBef>
                <a:spcPct val="0"/>
              </a:spcBef>
            </a:pPr>
            <a:r>
              <a:rPr lang="ru-RU" sz="15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В 2016 году завершили передислокацию </a:t>
            </a:r>
            <a:endParaRPr lang="en-US" sz="1500" b="1" dirty="0" smtClean="0">
              <a:solidFill>
                <a:schemeClr val="tx1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lvl="0" defTabSz="533400">
              <a:spcBef>
                <a:spcPct val="0"/>
              </a:spcBef>
            </a:pP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в</a:t>
            </a:r>
            <a:r>
              <a: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 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г. Шымкент: </a:t>
            </a:r>
            <a:r>
              <a: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			</a:t>
            </a:r>
            <a:r>
              <a:rPr lang="kk-KZ" sz="1600" b="1" dirty="0">
                <a:latin typeface="Arial Narrow" panose="020B0606020202030204" pitchFamily="34" charset="0"/>
                <a:cs typeface="Arial" pitchFamily="34" charset="0"/>
              </a:rPr>
              <a:t> </a:t>
            </a:r>
            <a:r>
              <a:rPr lang="kk-KZ" sz="1600" b="1" dirty="0" smtClean="0">
                <a:latin typeface="Arial Narrow" panose="020B0606020202030204" pitchFamily="34" charset="0"/>
                <a:cs typeface="Arial" pitchFamily="34" charset="0"/>
              </a:rPr>
              <a:t>  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в г. </a:t>
            </a:r>
            <a:r>
              <a:rPr lang="ru-RU" sz="1600" b="1" dirty="0" err="1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Кызылорда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:</a:t>
            </a:r>
          </a:p>
          <a:p>
            <a:pPr lvl="0" defTabSz="533400">
              <a:spcBef>
                <a:spcPct val="0"/>
              </a:spcBef>
            </a:pPr>
            <a:r>
              <a:rPr lang="en-US" sz="1500" dirty="0" smtClean="0">
                <a:latin typeface="Arial Narrow" panose="020B0606020202030204" pitchFamily="34" charset="0"/>
                <a:cs typeface="Arial" pitchFamily="34" charset="0"/>
              </a:rPr>
              <a:t>1. </a:t>
            </a:r>
            <a:r>
              <a:rPr lang="ru-RU" sz="1500" dirty="0" smtClean="0">
                <a:latin typeface="Arial Narrow" panose="020B0606020202030204" pitchFamily="34" charset="0"/>
                <a:cs typeface="Arial" pitchFamily="34" charset="0"/>
              </a:rPr>
              <a:t>ТОО </a:t>
            </a:r>
            <a:r>
              <a:rPr lang="ru-RU" sz="1500" dirty="0">
                <a:latin typeface="Arial Narrow" panose="020B0606020202030204" pitchFamily="34" charset="0"/>
                <a:cs typeface="Arial" pitchFamily="34" charset="0"/>
              </a:rPr>
              <a:t>«АППАК»</a:t>
            </a:r>
          </a:p>
          <a:p>
            <a:pPr lvl="0" defTabSz="533400">
              <a:spcBef>
                <a:spcPct val="0"/>
              </a:spcBef>
            </a:pPr>
            <a:r>
              <a:rPr lang="ru-RU" sz="1500" dirty="0">
                <a:latin typeface="Arial Narrow" panose="020B0606020202030204" pitchFamily="34" charset="0"/>
                <a:cs typeface="Arial" pitchFamily="34" charset="0"/>
              </a:rPr>
              <a:t>2. ТОО «ДП «</a:t>
            </a:r>
            <a:r>
              <a:rPr lang="ru-RU" sz="1500" dirty="0" err="1">
                <a:latin typeface="Arial Narrow" panose="020B0606020202030204" pitchFamily="34" charset="0"/>
                <a:cs typeface="Arial" pitchFamily="34" charset="0"/>
              </a:rPr>
              <a:t>Орталык</a:t>
            </a:r>
            <a:r>
              <a:rPr lang="ru-RU" sz="1500" dirty="0">
                <a:latin typeface="Arial Narrow" panose="020B0606020202030204" pitchFamily="34" charset="0"/>
                <a:cs typeface="Arial" pitchFamily="34" charset="0"/>
              </a:rPr>
              <a:t>» </a:t>
            </a:r>
            <a:endParaRPr lang="en-US" sz="1500" dirty="0" smtClean="0">
              <a:latin typeface="Arial Narrow" panose="020B0606020202030204" pitchFamily="34" charset="0"/>
              <a:cs typeface="Arial" pitchFamily="34" charset="0"/>
            </a:endParaRPr>
          </a:p>
          <a:p>
            <a:pPr lvl="0" defTabSz="533400">
              <a:spcBef>
                <a:spcPct val="0"/>
              </a:spcBef>
            </a:pPr>
            <a:r>
              <a:rPr lang="ru-RU" sz="1500" dirty="0" smtClean="0">
                <a:latin typeface="Arial Narrow" panose="020B0606020202030204" pitchFamily="34" charset="0"/>
                <a:cs typeface="Arial" pitchFamily="34" charset="0"/>
              </a:rPr>
              <a:t>3</a:t>
            </a:r>
            <a:r>
              <a:rPr lang="ru-RU" sz="1500" dirty="0">
                <a:latin typeface="Arial Narrow" panose="020B0606020202030204" pitchFamily="34" charset="0"/>
                <a:cs typeface="Arial" pitchFamily="34" charset="0"/>
              </a:rPr>
              <a:t>. ТОО «СП «</a:t>
            </a:r>
            <a:r>
              <a:rPr lang="ru-RU" sz="1500" dirty="0" err="1">
                <a:latin typeface="Arial Narrow" panose="020B0606020202030204" pitchFamily="34" charset="0"/>
                <a:cs typeface="Arial" pitchFamily="34" charset="0"/>
              </a:rPr>
              <a:t>Инкай</a:t>
            </a:r>
            <a:r>
              <a:rPr lang="ru-RU" sz="1500" dirty="0">
                <a:latin typeface="Arial Narrow" panose="020B0606020202030204" pitchFamily="34" charset="0"/>
                <a:cs typeface="Arial" pitchFamily="34" charset="0"/>
              </a:rPr>
              <a:t>» 	</a:t>
            </a:r>
            <a:endParaRPr lang="en-US" sz="1500" dirty="0">
              <a:latin typeface="Arial Narrow" panose="020B0606020202030204" pitchFamily="34" charset="0"/>
              <a:cs typeface="Arial" pitchFamily="34" charset="0"/>
            </a:endParaRPr>
          </a:p>
          <a:p>
            <a:pPr lvl="0" defTabSz="533400">
              <a:spcBef>
                <a:spcPct val="0"/>
              </a:spcBef>
            </a:pPr>
            <a:r>
              <a:rPr lang="ru-RU" sz="1500" dirty="0">
                <a:latin typeface="Arial Narrow" panose="020B0606020202030204" pitchFamily="34" charset="0"/>
                <a:cs typeface="Arial" pitchFamily="34" charset="0"/>
              </a:rPr>
              <a:t>4. ТОО «Каратау» 	</a:t>
            </a:r>
          </a:p>
          <a:p>
            <a:pPr lvl="0" defTabSz="533400">
              <a:spcBef>
                <a:spcPct val="0"/>
              </a:spcBef>
            </a:pPr>
            <a:r>
              <a:rPr lang="ru-RU" sz="1500" dirty="0">
                <a:latin typeface="Arial Narrow" panose="020B0606020202030204" pitchFamily="34" charset="0"/>
                <a:cs typeface="Arial" pitchFamily="34" charset="0"/>
              </a:rPr>
              <a:t>5. АО «СП «</a:t>
            </a:r>
            <a:r>
              <a:rPr lang="ru-RU" sz="1500" dirty="0" err="1">
                <a:latin typeface="Arial Narrow" panose="020B0606020202030204" pitchFamily="34" charset="0"/>
                <a:cs typeface="Arial" pitchFamily="34" charset="0"/>
              </a:rPr>
              <a:t>Акбастау</a:t>
            </a:r>
            <a:r>
              <a:rPr lang="ru-RU" sz="1500" dirty="0">
                <a:latin typeface="Arial Narrow" panose="020B0606020202030204" pitchFamily="34" charset="0"/>
                <a:cs typeface="Arial" pitchFamily="34" charset="0"/>
              </a:rPr>
              <a:t>»</a:t>
            </a:r>
            <a:r>
              <a:rPr lang="en-US" sz="1500" dirty="0">
                <a:latin typeface="Arial Narrow" panose="020B0606020202030204" pitchFamily="34" charset="0"/>
                <a:cs typeface="Arial" pitchFamily="34" charset="0"/>
              </a:rPr>
              <a:t> </a:t>
            </a:r>
            <a:endParaRPr lang="ru-RU" sz="1500" dirty="0">
              <a:latin typeface="Arial Narrow" panose="020B0606020202030204" pitchFamily="34" charset="0"/>
              <a:cs typeface="Arial" pitchFamily="34" charset="0"/>
            </a:endParaRPr>
          </a:p>
          <a:p>
            <a:pPr lvl="0" defTabSz="533400">
              <a:spcBef>
                <a:spcPct val="0"/>
              </a:spcBef>
            </a:pPr>
            <a:r>
              <a:rPr lang="ru-RU" sz="1500" dirty="0">
                <a:latin typeface="Arial Narrow" panose="020B0606020202030204" pitchFamily="34" charset="0"/>
                <a:cs typeface="Arial" pitchFamily="34" charset="0"/>
              </a:rPr>
              <a:t>6. АО «СП «ЗАРЕЧНОЕ»</a:t>
            </a:r>
          </a:p>
          <a:p>
            <a:pPr lvl="0" defTabSz="533400">
              <a:spcBef>
                <a:spcPct val="0"/>
              </a:spcBef>
            </a:pPr>
            <a:r>
              <a:rPr lang="en-US" sz="15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7</a:t>
            </a:r>
            <a:r>
              <a:rPr lang="ru-RU" sz="15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. ТОО «СП «ЮГХК» </a:t>
            </a:r>
          </a:p>
          <a:p>
            <a:pPr lvl="0" defTabSz="533400">
              <a:spcBef>
                <a:spcPct val="0"/>
              </a:spcBef>
            </a:pPr>
            <a:r>
              <a:rPr lang="en-US" sz="1500" dirty="0">
                <a:latin typeface="Arial Narrow" panose="020B0606020202030204" pitchFamily="34" charset="0"/>
                <a:cs typeface="Arial" pitchFamily="34" charset="0"/>
              </a:rPr>
              <a:t>8</a:t>
            </a:r>
            <a:r>
              <a:rPr lang="ru-RU" sz="15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. ТОО «</a:t>
            </a:r>
            <a:r>
              <a:rPr lang="ru-RU" sz="1500" dirty="0" err="1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Уранэнерго</a:t>
            </a:r>
            <a:r>
              <a:rPr lang="ru-RU" sz="15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»</a:t>
            </a:r>
          </a:p>
          <a:p>
            <a:pPr defTabSz="533400">
              <a:spcBef>
                <a:spcPct val="0"/>
              </a:spcBef>
            </a:pPr>
            <a:r>
              <a:rPr lang="en-US" sz="1500" dirty="0">
                <a:latin typeface="Arial Narrow" panose="020B0606020202030204" pitchFamily="34" charset="0"/>
                <a:cs typeface="Arial" pitchFamily="34" charset="0"/>
              </a:rPr>
              <a:t>9</a:t>
            </a:r>
            <a:r>
              <a:rPr lang="ru-RU" sz="1500" dirty="0" smtClean="0">
                <a:latin typeface="Arial Narrow" panose="020B0606020202030204" pitchFamily="34" charset="0"/>
                <a:cs typeface="Arial" pitchFamily="34" charset="0"/>
              </a:rPr>
              <a:t>. </a:t>
            </a:r>
            <a:r>
              <a:rPr lang="ru-RU" sz="1500" dirty="0">
                <a:latin typeface="Arial Narrow" panose="020B0606020202030204" pitchFamily="34" charset="0"/>
                <a:cs typeface="Arial" pitchFamily="34" charset="0"/>
              </a:rPr>
              <a:t>ТОО СП «КАТКО</a:t>
            </a:r>
            <a:r>
              <a:rPr lang="ru-RU" sz="1500" dirty="0" smtClean="0">
                <a:latin typeface="Arial Narrow" panose="020B0606020202030204" pitchFamily="34" charset="0"/>
                <a:cs typeface="Arial" pitchFamily="34" charset="0"/>
              </a:rPr>
              <a:t>» (частично в </a:t>
            </a:r>
            <a:r>
              <a:rPr lang="ru-RU" sz="1500" dirty="0" err="1" smtClean="0">
                <a:latin typeface="Arial Narrow" panose="020B0606020202030204" pitchFamily="34" charset="0"/>
                <a:cs typeface="Arial" pitchFamily="34" charset="0"/>
              </a:rPr>
              <a:t>г.Астана</a:t>
            </a:r>
            <a:r>
              <a:rPr lang="ru-RU" sz="1500" dirty="0" smtClean="0">
                <a:latin typeface="Arial Narrow" panose="020B0606020202030204" pitchFamily="34" charset="0"/>
                <a:cs typeface="Arial" pitchFamily="34" charset="0"/>
              </a:rPr>
              <a:t> / </a:t>
            </a:r>
            <a:r>
              <a:rPr lang="ru-RU" sz="1500" dirty="0" err="1" smtClean="0">
                <a:latin typeface="Arial Narrow" panose="020B0606020202030204" pitchFamily="34" charset="0"/>
                <a:cs typeface="Arial" pitchFamily="34" charset="0"/>
              </a:rPr>
              <a:t>г.Шымкент</a:t>
            </a:r>
            <a:r>
              <a:rPr lang="ru-RU" sz="1500" dirty="0" smtClean="0">
                <a:latin typeface="Arial Narrow" panose="020B0606020202030204" pitchFamily="34" charset="0"/>
                <a:cs typeface="Arial" pitchFamily="34" charset="0"/>
              </a:rPr>
              <a:t>)*</a:t>
            </a:r>
            <a:endParaRPr lang="ru-RU" sz="1500" dirty="0" smtClean="0">
              <a:solidFill>
                <a:schemeClr val="tx1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3598446" y="930061"/>
            <a:ext cx="5246139" cy="2813546"/>
          </a:xfrm>
          <a:prstGeom prst="roundRect">
            <a:avLst>
              <a:gd name="adj" fmla="val 10584"/>
            </a:avLst>
          </a:prstGeom>
          <a:noFill/>
          <a:ln w="2857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5681" y="967303"/>
            <a:ext cx="3276211" cy="1963101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1172100" y="1635053"/>
            <a:ext cx="8783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rPr>
              <a:t>4 офиса</a:t>
            </a:r>
            <a:endParaRPr lang="ru-RU" b="1" dirty="0">
              <a:solidFill>
                <a:schemeClr val="accent4">
                  <a:lumMod val="60000"/>
                  <a:lumOff val="4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660993" y="2083556"/>
            <a:ext cx="10427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Arial Narrow" pitchFamily="34" charset="0"/>
              </a:rPr>
              <a:t>8 офисов</a:t>
            </a:r>
            <a:endParaRPr lang="ru-RU" b="1" dirty="0">
              <a:solidFill>
                <a:schemeClr val="accent4">
                  <a:lumMod val="60000"/>
                  <a:lumOff val="4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6572249" y="1481298"/>
            <a:ext cx="192166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533400">
              <a:spcBef>
                <a:spcPct val="0"/>
              </a:spcBef>
            </a:pP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1. ТОО «</a:t>
            </a:r>
            <a:r>
              <a:rPr lang="ru-RU" sz="1600" dirty="0" err="1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Байкен</a:t>
            </a: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-U»</a:t>
            </a:r>
          </a:p>
          <a:p>
            <a:pPr lvl="0" defTabSz="533400">
              <a:spcBef>
                <a:spcPct val="0"/>
              </a:spcBef>
            </a:pP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2. ТОО «СКЗ-U»</a:t>
            </a:r>
          </a:p>
          <a:p>
            <a:pPr lvl="0" defTabSz="533400">
              <a:spcBef>
                <a:spcPct val="0"/>
              </a:spcBef>
            </a:pP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3. ТОО «Кызылкум» </a:t>
            </a:r>
          </a:p>
          <a:p>
            <a:pPr lvl="0" defTabSz="533400">
              <a:spcBef>
                <a:spcPct val="0"/>
              </a:spcBef>
            </a:pPr>
            <a:r>
              <a:rPr lang="ru-RU" sz="16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4. ТОО «СП «Хорасан-U»</a:t>
            </a:r>
          </a:p>
        </p:txBody>
      </p:sp>
      <p:sp>
        <p:nvSpPr>
          <p:cNvPr id="41" name="Параллелограмм 40"/>
          <p:cNvSpPr/>
          <p:nvPr/>
        </p:nvSpPr>
        <p:spPr>
          <a:xfrm>
            <a:off x="2844980" y="3892799"/>
            <a:ext cx="3878722" cy="362841"/>
          </a:xfrm>
          <a:prstGeom prst="parallelogram">
            <a:avLst>
              <a:gd name="adj" fmla="val 19118"/>
            </a:avLst>
          </a:prstGeom>
          <a:gradFill flip="none" rotWithShape="1">
            <a:gsLst>
              <a:gs pos="0">
                <a:schemeClr val="accent6">
                  <a:lumMod val="50000"/>
                  <a:shade val="30000"/>
                  <a:satMod val="115000"/>
                </a:schemeClr>
              </a:gs>
              <a:gs pos="50000">
                <a:schemeClr val="accent6">
                  <a:lumMod val="50000"/>
                  <a:shade val="67500"/>
                  <a:satMod val="115000"/>
                </a:schemeClr>
              </a:gs>
              <a:gs pos="100000">
                <a:schemeClr val="accent6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5509863" y="4371501"/>
            <a:ext cx="3634137" cy="21954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000"/>
              </a:spcAft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Ежегодно в местный бюджет поступает около </a:t>
            </a:r>
            <a:r>
              <a:rPr lang="ru-RU" sz="1200" b="1" dirty="0" smtClean="0">
                <a:solidFill>
                  <a:srgbClr val="C00000"/>
                </a:solidFill>
                <a:latin typeface="Arial Narrow" panose="020B0606020202030204" pitchFamily="34" charset="0"/>
                <a:cs typeface="Arial" pitchFamily="34" charset="0"/>
              </a:rPr>
              <a:t>10 млрд. тенге </a:t>
            </a:r>
            <a:r>
              <a:rPr lang="ru-RU" sz="12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налоговых отчислений от передислоцированных </a:t>
            </a:r>
            <a:r>
              <a:rPr lang="ru-RU" sz="1200" b="1" dirty="0" smtClean="0">
                <a:latin typeface="Arial Narrow" panose="020B0606020202030204" pitchFamily="34" charset="0"/>
                <a:cs typeface="Arial" pitchFamily="34" charset="0"/>
              </a:rPr>
              <a:t>предприятий;</a:t>
            </a:r>
          </a:p>
          <a:p>
            <a:pPr marL="285750" indent="-285750">
              <a:spcAft>
                <a:spcPts val="1000"/>
              </a:spcAft>
              <a:buFont typeface="Wingdings" panose="05000000000000000000" pitchFamily="2" charset="2"/>
              <a:buChar char="ü"/>
            </a:pPr>
            <a:r>
              <a:rPr lang="ru-RU" sz="1200" b="1" dirty="0">
                <a:latin typeface="Arial Narrow" panose="020B0606020202030204" pitchFamily="34" charset="0"/>
                <a:cs typeface="Arial" pitchFamily="34" charset="0"/>
              </a:rPr>
              <a:t>ежегодно в местный бюджет поступает </a:t>
            </a:r>
            <a:r>
              <a:rPr lang="ru-RU" sz="1200" b="1" dirty="0">
                <a:solidFill>
                  <a:srgbClr val="C00000"/>
                </a:solidFill>
                <a:latin typeface="Arial Narrow" panose="020B0606020202030204" pitchFamily="34" charset="0"/>
                <a:cs typeface="Arial" pitchFamily="34" charset="0"/>
              </a:rPr>
              <a:t>420 млн. тенге</a:t>
            </a:r>
            <a:r>
              <a:rPr lang="ru-RU" sz="1200" b="1" dirty="0">
                <a:latin typeface="Arial Narrow" panose="020B0606020202030204" pitchFamily="34" charset="0"/>
                <a:cs typeface="Arial" pitchFamily="34" charset="0"/>
              </a:rPr>
              <a:t> налоговых отчислений от передислоцированных работников с их </a:t>
            </a:r>
            <a:r>
              <a:rPr lang="ru-RU" sz="1200" b="1" dirty="0" smtClean="0">
                <a:latin typeface="Arial Narrow" panose="020B0606020202030204" pitchFamily="34" charset="0"/>
                <a:cs typeface="Arial" pitchFamily="34" charset="0"/>
              </a:rPr>
              <a:t>семьями;</a:t>
            </a:r>
            <a:endParaRPr lang="ru-RU" sz="1200" b="1" dirty="0">
              <a:latin typeface="Arial Narrow" panose="020B0606020202030204" pitchFamily="34" charset="0"/>
              <a:cs typeface="Arial" pitchFamily="34" charset="0"/>
            </a:endParaRPr>
          </a:p>
          <a:p>
            <a:pPr marL="285750" indent="-285750">
              <a:spcAft>
                <a:spcPts val="1000"/>
              </a:spcAft>
              <a:buFont typeface="Wingdings" panose="05000000000000000000" pitchFamily="2" charset="2"/>
              <a:buChar char="ü"/>
            </a:pPr>
            <a:r>
              <a:rPr lang="ru-RU" sz="1200" b="1" dirty="0" smtClean="0">
                <a:latin typeface="Arial Narrow" panose="020B0606020202030204" pitchFamily="34" charset="0"/>
                <a:cs typeface="Arial" pitchFamily="34" charset="0"/>
              </a:rPr>
              <a:t>Более </a:t>
            </a:r>
            <a:r>
              <a:rPr lang="ru-RU" sz="1200" b="1" dirty="0" smtClean="0">
                <a:solidFill>
                  <a:srgbClr val="C00000"/>
                </a:solidFill>
                <a:latin typeface="Arial Narrow" panose="020B0606020202030204" pitchFamily="34" charset="0"/>
                <a:cs typeface="Arial" pitchFamily="34" charset="0"/>
              </a:rPr>
              <a:t>100</a:t>
            </a:r>
            <a:r>
              <a:rPr lang="ru-RU" sz="1200" b="1" dirty="0" smtClean="0">
                <a:latin typeface="Arial Narrow" panose="020B0606020202030204" pitchFamily="34" charset="0"/>
                <a:cs typeface="Arial" pitchFamily="34" charset="0"/>
              </a:rPr>
              <a:t> представителей малого </a:t>
            </a:r>
            <a:r>
              <a:rPr lang="ru-RU" sz="12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и среднего бизнеса обеспечены долгосрочными </a:t>
            </a:r>
            <a:r>
              <a:rPr lang="ru-RU" sz="1200" b="1" dirty="0" smtClean="0">
                <a:latin typeface="Arial Narrow" panose="020B0606020202030204" pitchFamily="34" charset="0"/>
                <a:cs typeface="Arial" pitchFamily="34" charset="0"/>
              </a:rPr>
              <a:t>и годовыми </a:t>
            </a:r>
            <a:r>
              <a:rPr lang="ru-RU" sz="12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itchFamily="34" charset="0"/>
              </a:rPr>
              <a:t>договорами с АО «НАК «Казатомпром» на сумму </a:t>
            </a:r>
            <a:r>
              <a:rPr lang="ru-RU" sz="1200" b="1" dirty="0" smtClean="0">
                <a:solidFill>
                  <a:srgbClr val="C00000"/>
                </a:solidFill>
                <a:latin typeface="Arial Narrow" panose="020B0606020202030204" pitchFamily="34" charset="0"/>
                <a:cs typeface="Arial" pitchFamily="34" charset="0"/>
              </a:rPr>
              <a:t>16 млрд. тенге;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0" y="5548425"/>
            <a:ext cx="14630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smtClean="0">
                <a:latin typeface="Arial Narrow" panose="020B0606020202030204" pitchFamily="34" charset="0"/>
                <a:cs typeface="Arial" pitchFamily="34" charset="0"/>
              </a:rPr>
              <a:t>Оптимизация административных расходов предприятий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221480" y="5548425"/>
            <a:ext cx="14630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smtClean="0">
                <a:latin typeface="Arial Narrow" panose="020B0606020202030204" pitchFamily="34" charset="0"/>
                <a:cs typeface="Arial" pitchFamily="34" charset="0"/>
              </a:rPr>
              <a:t>Оперативное решение производственных вопросов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1352424" y="5548425"/>
            <a:ext cx="161881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smtClean="0">
                <a:latin typeface="Arial Narrow" panose="020B0606020202030204" pitchFamily="34" charset="0"/>
                <a:cs typeface="Arial" pitchFamily="34" charset="0"/>
              </a:rPr>
              <a:t>Улучшение взаимодействия с местными исполнительными органами</a:t>
            </a:r>
            <a:endParaRPr lang="ru-RU" sz="1200" b="1" dirty="0"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064324" y="5548425"/>
            <a:ext cx="9663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smtClean="0">
                <a:latin typeface="Arial Narrow" panose="020B0606020202030204" pitchFamily="34" charset="0"/>
                <a:cs typeface="Arial" pitchFamily="34" charset="0"/>
              </a:rPr>
              <a:t>Создание новых рабочих мест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287786" y="4459838"/>
            <a:ext cx="971550" cy="1048333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50000"/>
                  <a:shade val="30000"/>
                  <a:satMod val="115000"/>
                </a:schemeClr>
              </a:gs>
              <a:gs pos="50000">
                <a:schemeClr val="accent6">
                  <a:lumMod val="50000"/>
                  <a:shade val="67500"/>
                  <a:satMod val="115000"/>
                </a:schemeClr>
              </a:gs>
              <a:gs pos="100000">
                <a:schemeClr val="accent6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Овал 47"/>
          <p:cNvSpPr/>
          <p:nvPr/>
        </p:nvSpPr>
        <p:spPr>
          <a:xfrm>
            <a:off x="1676055" y="4459838"/>
            <a:ext cx="971550" cy="1048333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50000"/>
                  <a:shade val="30000"/>
                  <a:satMod val="115000"/>
                </a:schemeClr>
              </a:gs>
              <a:gs pos="50000">
                <a:schemeClr val="accent6">
                  <a:lumMod val="50000"/>
                  <a:shade val="67500"/>
                  <a:satMod val="115000"/>
                </a:schemeClr>
              </a:gs>
              <a:gs pos="100000">
                <a:schemeClr val="accent6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Овал 71"/>
          <p:cNvSpPr/>
          <p:nvPr/>
        </p:nvSpPr>
        <p:spPr>
          <a:xfrm>
            <a:off x="3064324" y="4459838"/>
            <a:ext cx="971550" cy="1048333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50000"/>
                  <a:shade val="30000"/>
                  <a:satMod val="115000"/>
                </a:schemeClr>
              </a:gs>
              <a:gs pos="50000">
                <a:schemeClr val="accent6">
                  <a:lumMod val="50000"/>
                  <a:shade val="67500"/>
                  <a:satMod val="115000"/>
                </a:schemeClr>
              </a:gs>
              <a:gs pos="100000">
                <a:schemeClr val="accent6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Овал 72"/>
          <p:cNvSpPr/>
          <p:nvPr/>
        </p:nvSpPr>
        <p:spPr>
          <a:xfrm>
            <a:off x="4452593" y="4459838"/>
            <a:ext cx="971550" cy="1048333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50000"/>
                  <a:shade val="30000"/>
                  <a:satMod val="115000"/>
                </a:schemeClr>
              </a:gs>
              <a:gs pos="50000">
                <a:schemeClr val="accent6">
                  <a:lumMod val="50000"/>
                  <a:shade val="67500"/>
                  <a:satMod val="115000"/>
                </a:schemeClr>
              </a:gs>
              <a:gs pos="100000">
                <a:schemeClr val="accent6">
                  <a:lumMod val="5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рямоугольник 73"/>
          <p:cNvSpPr/>
          <p:nvPr/>
        </p:nvSpPr>
        <p:spPr>
          <a:xfrm>
            <a:off x="2844980" y="3914008"/>
            <a:ext cx="4023905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itchFamily="34" charset="0"/>
              </a:rPr>
              <a:t>РЕЗУЛЬТАТЫ ПЕРЕДИСЛОКАЦИИ:</a:t>
            </a:r>
            <a:endParaRPr lang="ru-RU" b="1" dirty="0">
              <a:solidFill>
                <a:schemeClr val="bg1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pic>
        <p:nvPicPr>
          <p:cNvPr id="75" name="Рисунок 7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3483" y="4705336"/>
            <a:ext cx="568685" cy="613629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88420" y="4756027"/>
            <a:ext cx="546820" cy="590036"/>
          </a:xfrm>
          <a:prstGeom prst="rect">
            <a:avLst/>
          </a:prstGeom>
        </p:spPr>
      </p:pic>
      <p:pic>
        <p:nvPicPr>
          <p:cNvPr id="77" name="Рисунок 7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62023" y="4642047"/>
            <a:ext cx="570932" cy="661926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31403" y="4631839"/>
            <a:ext cx="609019" cy="657150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0" y="0"/>
            <a:ext cx="9144000" cy="67564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cap="all" dirty="0">
                <a:latin typeface="Arial" pitchFamily="34" charset="0"/>
                <a:cs typeface="Arial" pitchFamily="34" charset="0"/>
              </a:rPr>
              <a:t>Поддержка регионов</a:t>
            </a:r>
          </a:p>
        </p:txBody>
      </p:sp>
    </p:spTree>
    <p:extLst>
      <p:ext uri="{BB962C8B-B14F-4D97-AF65-F5344CB8AC3E}">
        <p14:creationId xmlns:p14="http://schemas.microsoft.com/office/powerpoint/2010/main" xmlns="" val="2482672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TextBox 123"/>
          <p:cNvSpPr txBox="1"/>
          <p:nvPr/>
        </p:nvSpPr>
        <p:spPr>
          <a:xfrm>
            <a:off x="5102678" y="3507477"/>
            <a:ext cx="38293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        </a:t>
            </a: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 </a:t>
            </a:r>
            <a:endParaRPr lang="ru-RU" sz="1600" b="1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37" name="Скругленный прямоугольник 136"/>
          <p:cNvSpPr/>
          <p:nvPr/>
        </p:nvSpPr>
        <p:spPr>
          <a:xfrm>
            <a:off x="117833" y="853439"/>
            <a:ext cx="4410623" cy="1695839"/>
          </a:xfrm>
          <a:prstGeom prst="round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Построены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и отремонтированы </a:t>
            </a:r>
            <a:r>
              <a:rPr lang="ru-RU" b="1" dirty="0">
                <a:solidFill>
                  <a:srgbClr val="C00000"/>
                </a:solidFill>
                <a:latin typeface="Arial Narrow" panose="020B0606020202030204" pitchFamily="34" charset="0"/>
              </a:rPr>
              <a:t>8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больниц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и поликлиник, </a:t>
            </a:r>
            <a:r>
              <a:rPr lang="ru-RU" b="1" dirty="0">
                <a:solidFill>
                  <a:srgbClr val="C00000"/>
                </a:solidFill>
                <a:latin typeface="Arial Narrow" panose="020B0606020202030204" pitchFamily="34" charset="0"/>
              </a:rPr>
              <a:t>19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школ и детских садов,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Arial Narrow" panose="020B0606020202030204" pitchFamily="34" charset="0"/>
              </a:rPr>
              <a:t>30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спортивно-культурных объектов, автомобильные дороги, мосты и другие социальные объекты.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0" y="0"/>
            <a:ext cx="9144000" cy="787741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cap="all" dirty="0">
                <a:latin typeface="Arial" pitchFamily="34" charset="0"/>
                <a:cs typeface="Arial" pitchFamily="34" charset="0"/>
              </a:rPr>
              <a:t>Социальные проекты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4821072" y="2455490"/>
            <a:ext cx="4214071" cy="2442529"/>
          </a:xfrm>
          <a:prstGeom prst="round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Акиматам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Южно-Казахстанской и </a:t>
            </a:r>
            <a:r>
              <a:rPr lang="ru-RU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Кызылординской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 областей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в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2015-2016 гг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.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безвозмездно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переданы </a:t>
            </a:r>
            <a:r>
              <a:rPr lang="ru-RU" b="1" dirty="0" smtClean="0">
                <a:solidFill>
                  <a:srgbClr val="C00000"/>
                </a:solidFill>
                <a:latin typeface="Arial Narrow" panose="020B0606020202030204" pitchFamily="34" charset="0"/>
              </a:rPr>
              <a:t>19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социальных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объектов, балансовой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стоимостью </a:t>
            </a:r>
            <a:r>
              <a:rPr lang="ru-RU" b="1" dirty="0">
                <a:solidFill>
                  <a:srgbClr val="C00000"/>
                </a:solidFill>
                <a:latin typeface="Arial Narrow" panose="020B0606020202030204" pitchFamily="34" charset="0"/>
              </a:rPr>
              <a:t>2 250 млн. </a:t>
            </a:r>
            <a:r>
              <a:rPr lang="ru-RU" b="1" dirty="0" smtClean="0">
                <a:solidFill>
                  <a:srgbClr val="C00000"/>
                </a:solidFill>
                <a:latin typeface="Arial Narrow" panose="020B0606020202030204" pitchFamily="34" charset="0"/>
              </a:rPr>
              <a:t>тенге.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На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строительство социального объекта и социально-экономическое развитие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региона направлено </a:t>
            </a:r>
            <a:r>
              <a:rPr lang="ru-RU" b="1" dirty="0">
                <a:solidFill>
                  <a:srgbClr val="C00000"/>
                </a:solidFill>
                <a:latin typeface="Arial Narrow" panose="020B0606020202030204" pitchFamily="34" charset="0"/>
              </a:rPr>
              <a:t>3 200 млн. тенге</a:t>
            </a:r>
            <a:r>
              <a:rPr lang="ru-RU" b="1" dirty="0" smtClean="0">
                <a:latin typeface="Arial Narrow" panose="020B0606020202030204" pitchFamily="34" charset="0"/>
              </a:rPr>
              <a:t>.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17833" y="4898019"/>
            <a:ext cx="4410622" cy="1668780"/>
          </a:xfrm>
          <a:prstGeom prst="round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В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2017-2019 годы планируется перечислить в бюджет Восточно-Казахстанской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области совокупную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сумму в размере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Arial Narrow" panose="020B0606020202030204" pitchFamily="34" charset="0"/>
              </a:rPr>
              <a:t>3 млрд. тенге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социально-экономического развития региона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7833" y="2668217"/>
            <a:ext cx="2273697" cy="202106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57" t="25402" r="-457" b="33159"/>
          <a:stretch/>
        </p:blipFill>
        <p:spPr>
          <a:xfrm>
            <a:off x="4998645" y="911282"/>
            <a:ext cx="3644612" cy="13171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9166" b="16139"/>
          <a:stretch/>
        </p:blipFill>
        <p:spPr>
          <a:xfrm>
            <a:off x="4998645" y="5029200"/>
            <a:ext cx="3644612" cy="17210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94143" y="2668217"/>
            <a:ext cx="2270634" cy="20151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xmlns="" val="1013710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6565103"/>
            <a:ext cx="9144000" cy="295334"/>
          </a:xfrm>
          <a:prstGeom prst="rect">
            <a:avLst/>
          </a:prstGeom>
          <a:solidFill>
            <a:schemeClr val="accent1">
              <a:lumMod val="40000"/>
              <a:lumOff val="6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400" dirty="0" smtClean="0">
              <a:solidFill>
                <a:prstClr val="white">
                  <a:lumMod val="95000"/>
                </a:prstClr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8012" y="1085329"/>
            <a:ext cx="1993613" cy="1435054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38012" y="2612252"/>
            <a:ext cx="1993613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</a:rPr>
              <a:t>В 2016 г. были приобретены у местных товаропроизводителей и местных поставщиков товаров, работ и услуг на общую 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</a:rPr>
              <a:t>сумму</a:t>
            </a:r>
          </a:p>
          <a:p>
            <a:pPr algn="ctr"/>
            <a:r>
              <a:rPr lang="ru-RU" sz="1600" dirty="0" smtClean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63,6 млрд. </a:t>
            </a:r>
            <a:r>
              <a:rPr lang="ru-RU" sz="2000" b="1" dirty="0" smtClean="0">
                <a:solidFill>
                  <a:srgbClr val="C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тенге,</a:t>
            </a:r>
            <a:endParaRPr lang="ru-RU" sz="2000" b="1" dirty="0">
              <a:solidFill>
                <a:srgbClr val="C0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44641" y="2165175"/>
            <a:ext cx="1474824" cy="1147086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129888" y="3474410"/>
            <a:ext cx="1904331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latin typeface="Arial" panose="020B0604020202020204" pitchFamily="34" charset="0"/>
                <a:ea typeface="Calibri" panose="020F0502020204030204" pitchFamily="34" charset="0"/>
              </a:rPr>
              <a:t>из </a:t>
            </a:r>
            <a:r>
              <a:rPr lang="ru-RU" sz="1600" dirty="0">
                <a:latin typeface="Arial" panose="020B0604020202020204" pitchFamily="34" charset="0"/>
                <a:ea typeface="Calibri" panose="020F0502020204030204" pitchFamily="34" charset="0"/>
              </a:rPr>
              <a:t>них сумма товаров, работ и услуг с местным содержанием составила </a:t>
            </a:r>
            <a:endParaRPr lang="ru-RU" sz="1600" dirty="0" smtClean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algn="ctr"/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19,9 млрд.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тенге,</a:t>
            </a:r>
            <a:r>
              <a:rPr lang="ru-RU" sz="1600" dirty="0" smtClean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</a:p>
          <a:p>
            <a:pPr algn="ctr"/>
            <a:r>
              <a:rPr lang="ru-RU" sz="1600" dirty="0" smtClean="0">
                <a:latin typeface="Arial" panose="020B0604020202020204" pitchFamily="34" charset="0"/>
                <a:ea typeface="Calibri" panose="020F0502020204030204" pitchFamily="34" charset="0"/>
              </a:rPr>
              <a:t>что </a:t>
            </a:r>
            <a:r>
              <a:rPr lang="ru-RU" sz="1600" dirty="0">
                <a:latin typeface="Arial" panose="020B0604020202020204" pitchFamily="34" charset="0"/>
                <a:ea typeface="Calibri" panose="020F0502020204030204" pitchFamily="34" charset="0"/>
              </a:rPr>
              <a:t>соответствует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80% доли местного содержания </a:t>
            </a:r>
            <a:r>
              <a:rPr lang="ru-RU" sz="1600" dirty="0">
                <a:latin typeface="Arial" panose="020B0604020202020204" pitchFamily="34" charset="0"/>
                <a:ea typeface="Calibri" panose="020F0502020204030204" pitchFamily="34" charset="0"/>
              </a:rPr>
              <a:t>в закупках в 2016 г.</a:t>
            </a:r>
            <a:endParaRPr lang="ru-RU" sz="1600" dirty="0"/>
          </a:p>
        </p:txBody>
      </p:sp>
      <p:grpSp>
        <p:nvGrpSpPr>
          <p:cNvPr id="20" name="Group 230"/>
          <p:cNvGrpSpPr/>
          <p:nvPr/>
        </p:nvGrpSpPr>
        <p:grpSpPr>
          <a:xfrm>
            <a:off x="3920862" y="1749262"/>
            <a:ext cx="5059024" cy="3845120"/>
            <a:chOff x="3661340" y="2673350"/>
            <a:chExt cx="4869322" cy="2685720"/>
          </a:xfrm>
          <a:solidFill>
            <a:schemeClr val="accent5">
              <a:lumMod val="5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" name="Freeform 259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5320655" y="2808577"/>
              <a:ext cx="912237" cy="1189343"/>
            </a:xfrm>
            <a:custGeom>
              <a:avLst/>
              <a:gdLst>
                <a:gd name="T0" fmla="*/ 933224 w 1008"/>
                <a:gd name="T1" fmla="*/ 132226 h 1314"/>
                <a:gd name="T2" fmla="*/ 995439 w 1008"/>
                <a:gd name="T3" fmla="*/ 404457 h 1314"/>
                <a:gd name="T4" fmla="*/ 941001 w 1008"/>
                <a:gd name="T5" fmla="*/ 513350 h 1314"/>
                <a:gd name="T6" fmla="*/ 921558 w 1008"/>
                <a:gd name="T7" fmla="*/ 727246 h 1314"/>
                <a:gd name="T8" fmla="*/ 851567 w 1008"/>
                <a:gd name="T9" fmla="*/ 785581 h 1314"/>
                <a:gd name="T10" fmla="*/ 874897 w 1008"/>
                <a:gd name="T11" fmla="*/ 882806 h 1314"/>
                <a:gd name="T12" fmla="*/ 917670 w 1008"/>
                <a:gd name="T13" fmla="*/ 1015033 h 1314"/>
                <a:gd name="T14" fmla="*/ 1042100 w 1008"/>
                <a:gd name="T15" fmla="*/ 1042256 h 1314"/>
                <a:gd name="T16" fmla="*/ 1127645 w 1008"/>
                <a:gd name="T17" fmla="*/ 1100591 h 1314"/>
                <a:gd name="T18" fmla="*/ 1232633 w 1008"/>
                <a:gd name="T19" fmla="*/ 1085035 h 1314"/>
                <a:gd name="T20" fmla="*/ 1306513 w 1008"/>
                <a:gd name="T21" fmla="*/ 1096702 h 1314"/>
                <a:gd name="T22" fmla="*/ 1240410 w 1008"/>
                <a:gd name="T23" fmla="*/ 1190038 h 1314"/>
                <a:gd name="T24" fmla="*/ 1139310 w 1008"/>
                <a:gd name="T25" fmla="*/ 1322264 h 1314"/>
                <a:gd name="T26" fmla="*/ 1049877 w 1008"/>
                <a:gd name="T27" fmla="*/ 1419490 h 1314"/>
                <a:gd name="T28" fmla="*/ 972108 w 1008"/>
                <a:gd name="T29" fmla="*/ 1477825 h 1314"/>
                <a:gd name="T30" fmla="*/ 836013 w 1008"/>
                <a:gd name="T31" fmla="*/ 1508937 h 1314"/>
                <a:gd name="T32" fmla="*/ 742691 w 1008"/>
                <a:gd name="T33" fmla="*/ 1571162 h 1314"/>
                <a:gd name="T34" fmla="*/ 703806 w 1008"/>
                <a:gd name="T35" fmla="*/ 1648942 h 1314"/>
                <a:gd name="T36" fmla="*/ 637703 w 1008"/>
                <a:gd name="T37" fmla="*/ 1641164 h 1314"/>
                <a:gd name="T38" fmla="*/ 497719 w 1008"/>
                <a:gd name="T39" fmla="*/ 1563384 h 1314"/>
                <a:gd name="T40" fmla="*/ 451058 w 1008"/>
                <a:gd name="T41" fmla="*/ 1528382 h 1314"/>
                <a:gd name="T42" fmla="*/ 400509 w 1008"/>
                <a:gd name="T43" fmla="*/ 1411712 h 1314"/>
                <a:gd name="T44" fmla="*/ 396620 w 1008"/>
                <a:gd name="T45" fmla="*/ 1291152 h 1314"/>
                <a:gd name="T46" fmla="*/ 482166 w 1008"/>
                <a:gd name="T47" fmla="*/ 1244484 h 1314"/>
                <a:gd name="T48" fmla="*/ 353847 w 1008"/>
                <a:gd name="T49" fmla="*/ 1034478 h 1314"/>
                <a:gd name="T50" fmla="*/ 349959 w 1008"/>
                <a:gd name="T51" fmla="*/ 972253 h 1314"/>
                <a:gd name="T52" fmla="*/ 299409 w 1008"/>
                <a:gd name="T53" fmla="*/ 917807 h 1314"/>
                <a:gd name="T54" fmla="*/ 225529 w 1008"/>
                <a:gd name="T55" fmla="*/ 851694 h 1314"/>
                <a:gd name="T56" fmla="*/ 124430 w 1008"/>
                <a:gd name="T57" fmla="*/ 801137 h 1314"/>
                <a:gd name="T58" fmla="*/ 73880 w 1008"/>
                <a:gd name="T59" fmla="*/ 754469 h 1314"/>
                <a:gd name="T60" fmla="*/ 27219 w 1008"/>
                <a:gd name="T61" fmla="*/ 680577 h 1314"/>
                <a:gd name="T62" fmla="*/ 167203 w 1008"/>
                <a:gd name="T63" fmla="*/ 598908 h 1314"/>
                <a:gd name="T64" fmla="*/ 143872 w 1008"/>
                <a:gd name="T65" fmla="*/ 497794 h 1314"/>
                <a:gd name="T66" fmla="*/ 295521 w 1008"/>
                <a:gd name="T67" fmla="*/ 455015 h 1314"/>
                <a:gd name="T68" fmla="*/ 307186 w 1008"/>
                <a:gd name="T69" fmla="*/ 408346 h 1314"/>
                <a:gd name="T70" fmla="*/ 174979 w 1008"/>
                <a:gd name="T71" fmla="*/ 346122 h 1314"/>
                <a:gd name="T72" fmla="*/ 248860 w 1008"/>
                <a:gd name="T73" fmla="*/ 295565 h 1314"/>
                <a:gd name="T74" fmla="*/ 139984 w 1008"/>
                <a:gd name="T75" fmla="*/ 276120 h 1314"/>
                <a:gd name="T76" fmla="*/ 198310 w 1008"/>
                <a:gd name="T77" fmla="*/ 202229 h 1314"/>
                <a:gd name="T78" fmla="*/ 287744 w 1008"/>
                <a:gd name="T79" fmla="*/ 182784 h 1314"/>
                <a:gd name="T80" fmla="*/ 404397 w 1008"/>
                <a:gd name="T81" fmla="*/ 213896 h 1314"/>
                <a:gd name="T82" fmla="*/ 524938 w 1008"/>
                <a:gd name="T83" fmla="*/ 136115 h 1314"/>
                <a:gd name="T84" fmla="*/ 606595 w 1008"/>
                <a:gd name="T85" fmla="*/ 140004 h 1314"/>
                <a:gd name="T86" fmla="*/ 723248 w 1008"/>
                <a:gd name="T87" fmla="*/ 101114 h 1314"/>
                <a:gd name="T88" fmla="*/ 797129 w 1008"/>
                <a:gd name="T89" fmla="*/ 73891 h 1314"/>
                <a:gd name="T90" fmla="*/ 906005 w 1008"/>
                <a:gd name="T91" fmla="*/ 0 h 131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08"/>
                <a:gd name="T139" fmla="*/ 0 h 1314"/>
                <a:gd name="T140" fmla="*/ 1008 w 1008"/>
                <a:gd name="T141" fmla="*/ 1314 h 131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08" h="1314">
                  <a:moveTo>
                    <a:pt x="699" y="0"/>
                  </a:moveTo>
                  <a:lnTo>
                    <a:pt x="720" y="72"/>
                  </a:lnTo>
                  <a:lnTo>
                    <a:pt x="720" y="102"/>
                  </a:lnTo>
                  <a:lnTo>
                    <a:pt x="741" y="114"/>
                  </a:lnTo>
                  <a:lnTo>
                    <a:pt x="708" y="153"/>
                  </a:lnTo>
                  <a:lnTo>
                    <a:pt x="768" y="312"/>
                  </a:lnTo>
                  <a:lnTo>
                    <a:pt x="732" y="345"/>
                  </a:lnTo>
                  <a:lnTo>
                    <a:pt x="759" y="357"/>
                  </a:lnTo>
                  <a:lnTo>
                    <a:pt x="726" y="396"/>
                  </a:lnTo>
                  <a:lnTo>
                    <a:pt x="732" y="453"/>
                  </a:lnTo>
                  <a:lnTo>
                    <a:pt x="729" y="498"/>
                  </a:lnTo>
                  <a:lnTo>
                    <a:pt x="711" y="561"/>
                  </a:lnTo>
                  <a:lnTo>
                    <a:pt x="678" y="591"/>
                  </a:lnTo>
                  <a:lnTo>
                    <a:pt x="654" y="585"/>
                  </a:lnTo>
                  <a:lnTo>
                    <a:pt x="657" y="606"/>
                  </a:lnTo>
                  <a:lnTo>
                    <a:pt x="681" y="618"/>
                  </a:lnTo>
                  <a:lnTo>
                    <a:pt x="672" y="654"/>
                  </a:lnTo>
                  <a:lnTo>
                    <a:pt x="675" y="681"/>
                  </a:lnTo>
                  <a:lnTo>
                    <a:pt x="687" y="723"/>
                  </a:lnTo>
                  <a:lnTo>
                    <a:pt x="693" y="750"/>
                  </a:lnTo>
                  <a:lnTo>
                    <a:pt x="708" y="783"/>
                  </a:lnTo>
                  <a:lnTo>
                    <a:pt x="735" y="750"/>
                  </a:lnTo>
                  <a:lnTo>
                    <a:pt x="768" y="777"/>
                  </a:lnTo>
                  <a:lnTo>
                    <a:pt x="804" y="804"/>
                  </a:lnTo>
                  <a:lnTo>
                    <a:pt x="849" y="813"/>
                  </a:lnTo>
                  <a:lnTo>
                    <a:pt x="882" y="819"/>
                  </a:lnTo>
                  <a:lnTo>
                    <a:pt x="870" y="849"/>
                  </a:lnTo>
                  <a:lnTo>
                    <a:pt x="882" y="870"/>
                  </a:lnTo>
                  <a:lnTo>
                    <a:pt x="933" y="849"/>
                  </a:lnTo>
                  <a:lnTo>
                    <a:pt x="951" y="837"/>
                  </a:lnTo>
                  <a:lnTo>
                    <a:pt x="978" y="840"/>
                  </a:lnTo>
                  <a:lnTo>
                    <a:pt x="993" y="816"/>
                  </a:lnTo>
                  <a:lnTo>
                    <a:pt x="1008" y="846"/>
                  </a:lnTo>
                  <a:lnTo>
                    <a:pt x="1002" y="864"/>
                  </a:lnTo>
                  <a:lnTo>
                    <a:pt x="954" y="894"/>
                  </a:lnTo>
                  <a:lnTo>
                    <a:pt x="957" y="918"/>
                  </a:lnTo>
                  <a:lnTo>
                    <a:pt x="924" y="975"/>
                  </a:lnTo>
                  <a:lnTo>
                    <a:pt x="903" y="1005"/>
                  </a:lnTo>
                  <a:lnTo>
                    <a:pt x="879" y="1020"/>
                  </a:lnTo>
                  <a:lnTo>
                    <a:pt x="852" y="1038"/>
                  </a:lnTo>
                  <a:lnTo>
                    <a:pt x="837" y="1086"/>
                  </a:lnTo>
                  <a:lnTo>
                    <a:pt x="810" y="1095"/>
                  </a:lnTo>
                  <a:lnTo>
                    <a:pt x="786" y="1137"/>
                  </a:lnTo>
                  <a:lnTo>
                    <a:pt x="771" y="1149"/>
                  </a:lnTo>
                  <a:lnTo>
                    <a:pt x="750" y="1140"/>
                  </a:lnTo>
                  <a:lnTo>
                    <a:pt x="732" y="1158"/>
                  </a:lnTo>
                  <a:lnTo>
                    <a:pt x="696" y="1179"/>
                  </a:lnTo>
                  <a:lnTo>
                    <a:pt x="645" y="1164"/>
                  </a:lnTo>
                  <a:lnTo>
                    <a:pt x="609" y="1161"/>
                  </a:lnTo>
                  <a:lnTo>
                    <a:pt x="606" y="1203"/>
                  </a:lnTo>
                  <a:lnTo>
                    <a:pt x="573" y="1212"/>
                  </a:lnTo>
                  <a:lnTo>
                    <a:pt x="576" y="1236"/>
                  </a:lnTo>
                  <a:lnTo>
                    <a:pt x="534" y="1251"/>
                  </a:lnTo>
                  <a:lnTo>
                    <a:pt x="543" y="1272"/>
                  </a:lnTo>
                  <a:lnTo>
                    <a:pt x="525" y="1290"/>
                  </a:lnTo>
                  <a:lnTo>
                    <a:pt x="516" y="1314"/>
                  </a:lnTo>
                  <a:lnTo>
                    <a:pt x="492" y="1266"/>
                  </a:lnTo>
                  <a:lnTo>
                    <a:pt x="450" y="1242"/>
                  </a:lnTo>
                  <a:lnTo>
                    <a:pt x="414" y="1221"/>
                  </a:lnTo>
                  <a:lnTo>
                    <a:pt x="384" y="1206"/>
                  </a:lnTo>
                  <a:lnTo>
                    <a:pt x="384" y="1179"/>
                  </a:lnTo>
                  <a:lnTo>
                    <a:pt x="366" y="1161"/>
                  </a:lnTo>
                  <a:lnTo>
                    <a:pt x="348" y="1179"/>
                  </a:lnTo>
                  <a:lnTo>
                    <a:pt x="315" y="1137"/>
                  </a:lnTo>
                  <a:lnTo>
                    <a:pt x="288" y="1098"/>
                  </a:lnTo>
                  <a:lnTo>
                    <a:pt x="309" y="1089"/>
                  </a:lnTo>
                  <a:lnTo>
                    <a:pt x="288" y="1050"/>
                  </a:lnTo>
                  <a:lnTo>
                    <a:pt x="306" y="1023"/>
                  </a:lnTo>
                  <a:lnTo>
                    <a:pt x="306" y="996"/>
                  </a:lnTo>
                  <a:lnTo>
                    <a:pt x="324" y="987"/>
                  </a:lnTo>
                  <a:lnTo>
                    <a:pt x="345" y="954"/>
                  </a:lnTo>
                  <a:lnTo>
                    <a:pt x="372" y="960"/>
                  </a:lnTo>
                  <a:lnTo>
                    <a:pt x="339" y="897"/>
                  </a:lnTo>
                  <a:lnTo>
                    <a:pt x="291" y="816"/>
                  </a:lnTo>
                  <a:lnTo>
                    <a:pt x="273" y="798"/>
                  </a:lnTo>
                  <a:lnTo>
                    <a:pt x="264" y="777"/>
                  </a:lnTo>
                  <a:lnTo>
                    <a:pt x="288" y="765"/>
                  </a:lnTo>
                  <a:lnTo>
                    <a:pt x="270" y="750"/>
                  </a:lnTo>
                  <a:lnTo>
                    <a:pt x="279" y="726"/>
                  </a:lnTo>
                  <a:lnTo>
                    <a:pt x="255" y="723"/>
                  </a:lnTo>
                  <a:lnTo>
                    <a:pt x="231" y="708"/>
                  </a:lnTo>
                  <a:lnTo>
                    <a:pt x="219" y="684"/>
                  </a:lnTo>
                  <a:lnTo>
                    <a:pt x="186" y="687"/>
                  </a:lnTo>
                  <a:lnTo>
                    <a:pt x="174" y="657"/>
                  </a:lnTo>
                  <a:lnTo>
                    <a:pt x="135" y="648"/>
                  </a:lnTo>
                  <a:lnTo>
                    <a:pt x="108" y="636"/>
                  </a:lnTo>
                  <a:lnTo>
                    <a:pt x="96" y="618"/>
                  </a:lnTo>
                  <a:lnTo>
                    <a:pt x="69" y="615"/>
                  </a:lnTo>
                  <a:lnTo>
                    <a:pt x="39" y="594"/>
                  </a:lnTo>
                  <a:lnTo>
                    <a:pt x="57" y="582"/>
                  </a:lnTo>
                  <a:lnTo>
                    <a:pt x="21" y="564"/>
                  </a:lnTo>
                  <a:lnTo>
                    <a:pt x="0" y="561"/>
                  </a:lnTo>
                  <a:lnTo>
                    <a:pt x="21" y="525"/>
                  </a:lnTo>
                  <a:lnTo>
                    <a:pt x="69" y="507"/>
                  </a:lnTo>
                  <a:lnTo>
                    <a:pt x="120" y="489"/>
                  </a:lnTo>
                  <a:lnTo>
                    <a:pt x="129" y="462"/>
                  </a:lnTo>
                  <a:lnTo>
                    <a:pt x="108" y="426"/>
                  </a:lnTo>
                  <a:lnTo>
                    <a:pt x="87" y="390"/>
                  </a:lnTo>
                  <a:lnTo>
                    <a:pt x="111" y="384"/>
                  </a:lnTo>
                  <a:lnTo>
                    <a:pt x="138" y="342"/>
                  </a:lnTo>
                  <a:lnTo>
                    <a:pt x="177" y="336"/>
                  </a:lnTo>
                  <a:lnTo>
                    <a:pt x="228" y="351"/>
                  </a:lnTo>
                  <a:lnTo>
                    <a:pt x="255" y="351"/>
                  </a:lnTo>
                  <a:lnTo>
                    <a:pt x="261" y="327"/>
                  </a:lnTo>
                  <a:lnTo>
                    <a:pt x="237" y="315"/>
                  </a:lnTo>
                  <a:lnTo>
                    <a:pt x="201" y="297"/>
                  </a:lnTo>
                  <a:lnTo>
                    <a:pt x="165" y="297"/>
                  </a:lnTo>
                  <a:lnTo>
                    <a:pt x="135" y="267"/>
                  </a:lnTo>
                  <a:lnTo>
                    <a:pt x="162" y="246"/>
                  </a:lnTo>
                  <a:lnTo>
                    <a:pt x="192" y="246"/>
                  </a:lnTo>
                  <a:lnTo>
                    <a:pt x="192" y="228"/>
                  </a:lnTo>
                  <a:lnTo>
                    <a:pt x="159" y="225"/>
                  </a:lnTo>
                  <a:lnTo>
                    <a:pt x="141" y="228"/>
                  </a:lnTo>
                  <a:lnTo>
                    <a:pt x="108" y="213"/>
                  </a:lnTo>
                  <a:lnTo>
                    <a:pt x="138" y="183"/>
                  </a:lnTo>
                  <a:lnTo>
                    <a:pt x="135" y="156"/>
                  </a:lnTo>
                  <a:lnTo>
                    <a:pt x="153" y="156"/>
                  </a:lnTo>
                  <a:lnTo>
                    <a:pt x="168" y="126"/>
                  </a:lnTo>
                  <a:lnTo>
                    <a:pt x="198" y="147"/>
                  </a:lnTo>
                  <a:lnTo>
                    <a:pt x="222" y="141"/>
                  </a:lnTo>
                  <a:lnTo>
                    <a:pt x="264" y="141"/>
                  </a:lnTo>
                  <a:lnTo>
                    <a:pt x="297" y="153"/>
                  </a:lnTo>
                  <a:lnTo>
                    <a:pt x="312" y="165"/>
                  </a:lnTo>
                  <a:lnTo>
                    <a:pt x="309" y="132"/>
                  </a:lnTo>
                  <a:lnTo>
                    <a:pt x="360" y="129"/>
                  </a:lnTo>
                  <a:lnTo>
                    <a:pt x="405" y="105"/>
                  </a:lnTo>
                  <a:lnTo>
                    <a:pt x="429" y="108"/>
                  </a:lnTo>
                  <a:lnTo>
                    <a:pt x="450" y="90"/>
                  </a:lnTo>
                  <a:lnTo>
                    <a:pt x="468" y="108"/>
                  </a:lnTo>
                  <a:lnTo>
                    <a:pt x="498" y="87"/>
                  </a:lnTo>
                  <a:lnTo>
                    <a:pt x="534" y="78"/>
                  </a:lnTo>
                  <a:lnTo>
                    <a:pt x="558" y="78"/>
                  </a:lnTo>
                  <a:lnTo>
                    <a:pt x="591" y="69"/>
                  </a:lnTo>
                  <a:lnTo>
                    <a:pt x="609" y="87"/>
                  </a:lnTo>
                  <a:lnTo>
                    <a:pt x="615" y="57"/>
                  </a:lnTo>
                  <a:lnTo>
                    <a:pt x="639" y="36"/>
                  </a:lnTo>
                  <a:lnTo>
                    <a:pt x="657" y="18"/>
                  </a:lnTo>
                  <a:lnTo>
                    <a:pt x="699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260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5950243" y="2673350"/>
              <a:ext cx="897826" cy="575274"/>
            </a:xfrm>
            <a:custGeom>
              <a:avLst/>
              <a:gdLst>
                <a:gd name="T0" fmla="*/ 25925 w 992"/>
                <a:gd name="T1" fmla="*/ 279819 h 636"/>
                <a:gd name="T2" fmla="*/ 54442 w 992"/>
                <a:gd name="T3" fmla="*/ 349774 h 636"/>
                <a:gd name="T4" fmla="*/ 36295 w 992"/>
                <a:gd name="T5" fmla="*/ 450820 h 636"/>
                <a:gd name="T6" fmla="*/ 69997 w 992"/>
                <a:gd name="T7" fmla="*/ 546684 h 636"/>
                <a:gd name="T8" fmla="*/ 46665 w 992"/>
                <a:gd name="T9" fmla="*/ 642548 h 636"/>
                <a:gd name="T10" fmla="*/ 31110 w 992"/>
                <a:gd name="T11" fmla="*/ 720276 h 636"/>
                <a:gd name="T12" fmla="*/ 82960 w 992"/>
                <a:gd name="T13" fmla="*/ 803186 h 636"/>
                <a:gd name="T14" fmla="*/ 191844 w 992"/>
                <a:gd name="T15" fmla="*/ 823913 h 636"/>
                <a:gd name="T16" fmla="*/ 248879 w 992"/>
                <a:gd name="T17" fmla="*/ 777276 h 636"/>
                <a:gd name="T18" fmla="*/ 331839 w 992"/>
                <a:gd name="T19" fmla="*/ 813549 h 636"/>
                <a:gd name="T20" fmla="*/ 394059 w 992"/>
                <a:gd name="T21" fmla="*/ 715094 h 636"/>
                <a:gd name="T22" fmla="*/ 461463 w 992"/>
                <a:gd name="T23" fmla="*/ 663276 h 636"/>
                <a:gd name="T24" fmla="*/ 565163 w 992"/>
                <a:gd name="T25" fmla="*/ 709913 h 636"/>
                <a:gd name="T26" fmla="*/ 627383 w 992"/>
                <a:gd name="T27" fmla="*/ 741004 h 636"/>
                <a:gd name="T28" fmla="*/ 689602 w 992"/>
                <a:gd name="T29" fmla="*/ 730640 h 636"/>
                <a:gd name="T30" fmla="*/ 736267 w 992"/>
                <a:gd name="T31" fmla="*/ 707322 h 636"/>
                <a:gd name="T32" fmla="*/ 829597 w 992"/>
                <a:gd name="T33" fmla="*/ 756549 h 636"/>
                <a:gd name="T34" fmla="*/ 891817 w 992"/>
                <a:gd name="T35" fmla="*/ 652912 h 636"/>
                <a:gd name="T36" fmla="*/ 1057736 w 992"/>
                <a:gd name="T37" fmla="*/ 689185 h 636"/>
                <a:gd name="T38" fmla="*/ 1104401 w 992"/>
                <a:gd name="T39" fmla="*/ 642548 h 636"/>
                <a:gd name="T40" fmla="*/ 1208100 w 992"/>
                <a:gd name="T41" fmla="*/ 627003 h 636"/>
                <a:gd name="T42" fmla="*/ 1285875 w 992"/>
                <a:gd name="T43" fmla="*/ 570003 h 636"/>
                <a:gd name="T44" fmla="*/ 1197730 w 992"/>
                <a:gd name="T45" fmla="*/ 538912 h 636"/>
                <a:gd name="T46" fmla="*/ 1192545 w 992"/>
                <a:gd name="T47" fmla="*/ 487093 h 636"/>
                <a:gd name="T48" fmla="*/ 1119956 w 992"/>
                <a:gd name="T49" fmla="*/ 424911 h 636"/>
                <a:gd name="T50" fmla="*/ 1125141 w 992"/>
                <a:gd name="T51" fmla="*/ 399002 h 636"/>
                <a:gd name="T52" fmla="*/ 1156251 w 992"/>
                <a:gd name="T53" fmla="*/ 316092 h 636"/>
                <a:gd name="T54" fmla="*/ 1187360 w 992"/>
                <a:gd name="T55" fmla="*/ 264274 h 636"/>
                <a:gd name="T56" fmla="*/ 1062921 w 992"/>
                <a:gd name="T57" fmla="*/ 269456 h 636"/>
                <a:gd name="T58" fmla="*/ 1042181 w 992"/>
                <a:gd name="T59" fmla="*/ 310911 h 636"/>
                <a:gd name="T60" fmla="*/ 985146 w 992"/>
                <a:gd name="T61" fmla="*/ 285001 h 636"/>
                <a:gd name="T62" fmla="*/ 922927 w 992"/>
                <a:gd name="T63" fmla="*/ 217637 h 636"/>
                <a:gd name="T64" fmla="*/ 912557 w 992"/>
                <a:gd name="T65" fmla="*/ 259092 h 636"/>
                <a:gd name="T66" fmla="*/ 834782 w 992"/>
                <a:gd name="T67" fmla="*/ 279819 h 636"/>
                <a:gd name="T68" fmla="*/ 767377 w 992"/>
                <a:gd name="T69" fmla="*/ 259092 h 636"/>
                <a:gd name="T70" fmla="*/ 777747 w 992"/>
                <a:gd name="T71" fmla="*/ 196910 h 636"/>
                <a:gd name="T72" fmla="*/ 746637 w 992"/>
                <a:gd name="T73" fmla="*/ 98455 h 636"/>
                <a:gd name="T74" fmla="*/ 694787 w 992"/>
                <a:gd name="T75" fmla="*/ 10364 h 636"/>
                <a:gd name="T76" fmla="*/ 559978 w 992"/>
                <a:gd name="T77" fmla="*/ 15546 h 636"/>
                <a:gd name="T78" fmla="*/ 466648 w 992"/>
                <a:gd name="T79" fmla="*/ 10364 h 636"/>
                <a:gd name="T80" fmla="*/ 378504 w 992"/>
                <a:gd name="T81" fmla="*/ 20727 h 636"/>
                <a:gd name="T82" fmla="*/ 316284 w 992"/>
                <a:gd name="T83" fmla="*/ 57000 h 636"/>
                <a:gd name="T84" fmla="*/ 311099 w 992"/>
                <a:gd name="T85" fmla="*/ 124364 h 636"/>
                <a:gd name="T86" fmla="*/ 191844 w 992"/>
                <a:gd name="T87" fmla="*/ 155455 h 636"/>
                <a:gd name="T88" fmla="*/ 124440 w 992"/>
                <a:gd name="T89" fmla="*/ 165819 h 636"/>
                <a:gd name="T90" fmla="*/ 46665 w 992"/>
                <a:gd name="T91" fmla="*/ 186546 h 6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92"/>
                <a:gd name="T139" fmla="*/ 0 h 636"/>
                <a:gd name="T140" fmla="*/ 992 w 992"/>
                <a:gd name="T141" fmla="*/ 636 h 6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92" h="636">
                  <a:moveTo>
                    <a:pt x="0" y="152"/>
                  </a:moveTo>
                  <a:lnTo>
                    <a:pt x="20" y="216"/>
                  </a:lnTo>
                  <a:lnTo>
                    <a:pt x="24" y="256"/>
                  </a:lnTo>
                  <a:lnTo>
                    <a:pt x="42" y="270"/>
                  </a:lnTo>
                  <a:lnTo>
                    <a:pt x="10" y="300"/>
                  </a:lnTo>
                  <a:lnTo>
                    <a:pt x="28" y="348"/>
                  </a:lnTo>
                  <a:lnTo>
                    <a:pt x="44" y="392"/>
                  </a:lnTo>
                  <a:lnTo>
                    <a:pt x="54" y="422"/>
                  </a:lnTo>
                  <a:lnTo>
                    <a:pt x="72" y="464"/>
                  </a:lnTo>
                  <a:lnTo>
                    <a:pt x="36" y="496"/>
                  </a:lnTo>
                  <a:lnTo>
                    <a:pt x="60" y="508"/>
                  </a:lnTo>
                  <a:lnTo>
                    <a:pt x="24" y="556"/>
                  </a:lnTo>
                  <a:lnTo>
                    <a:pt x="44" y="604"/>
                  </a:lnTo>
                  <a:lnTo>
                    <a:pt x="64" y="620"/>
                  </a:lnTo>
                  <a:lnTo>
                    <a:pt x="92" y="616"/>
                  </a:lnTo>
                  <a:lnTo>
                    <a:pt x="148" y="636"/>
                  </a:lnTo>
                  <a:lnTo>
                    <a:pt x="172" y="636"/>
                  </a:lnTo>
                  <a:lnTo>
                    <a:pt x="192" y="600"/>
                  </a:lnTo>
                  <a:lnTo>
                    <a:pt x="216" y="608"/>
                  </a:lnTo>
                  <a:lnTo>
                    <a:pt x="256" y="628"/>
                  </a:lnTo>
                  <a:lnTo>
                    <a:pt x="280" y="588"/>
                  </a:lnTo>
                  <a:lnTo>
                    <a:pt x="304" y="552"/>
                  </a:lnTo>
                  <a:lnTo>
                    <a:pt x="332" y="520"/>
                  </a:lnTo>
                  <a:lnTo>
                    <a:pt x="356" y="512"/>
                  </a:lnTo>
                  <a:lnTo>
                    <a:pt x="394" y="550"/>
                  </a:lnTo>
                  <a:lnTo>
                    <a:pt x="436" y="548"/>
                  </a:lnTo>
                  <a:lnTo>
                    <a:pt x="452" y="580"/>
                  </a:lnTo>
                  <a:lnTo>
                    <a:pt x="484" y="572"/>
                  </a:lnTo>
                  <a:lnTo>
                    <a:pt x="508" y="548"/>
                  </a:lnTo>
                  <a:lnTo>
                    <a:pt x="532" y="564"/>
                  </a:lnTo>
                  <a:lnTo>
                    <a:pt x="556" y="512"/>
                  </a:lnTo>
                  <a:lnTo>
                    <a:pt x="568" y="546"/>
                  </a:lnTo>
                  <a:lnTo>
                    <a:pt x="592" y="568"/>
                  </a:lnTo>
                  <a:lnTo>
                    <a:pt x="640" y="584"/>
                  </a:lnTo>
                  <a:lnTo>
                    <a:pt x="664" y="544"/>
                  </a:lnTo>
                  <a:lnTo>
                    <a:pt x="688" y="504"/>
                  </a:lnTo>
                  <a:lnTo>
                    <a:pt x="732" y="532"/>
                  </a:lnTo>
                  <a:lnTo>
                    <a:pt x="816" y="532"/>
                  </a:lnTo>
                  <a:lnTo>
                    <a:pt x="840" y="552"/>
                  </a:lnTo>
                  <a:lnTo>
                    <a:pt x="852" y="496"/>
                  </a:lnTo>
                  <a:lnTo>
                    <a:pt x="876" y="476"/>
                  </a:lnTo>
                  <a:lnTo>
                    <a:pt x="932" y="484"/>
                  </a:lnTo>
                  <a:lnTo>
                    <a:pt x="976" y="496"/>
                  </a:lnTo>
                  <a:lnTo>
                    <a:pt x="992" y="440"/>
                  </a:lnTo>
                  <a:lnTo>
                    <a:pt x="944" y="448"/>
                  </a:lnTo>
                  <a:lnTo>
                    <a:pt x="924" y="416"/>
                  </a:lnTo>
                  <a:lnTo>
                    <a:pt x="948" y="388"/>
                  </a:lnTo>
                  <a:lnTo>
                    <a:pt x="920" y="376"/>
                  </a:lnTo>
                  <a:lnTo>
                    <a:pt x="904" y="356"/>
                  </a:lnTo>
                  <a:lnTo>
                    <a:pt x="864" y="328"/>
                  </a:lnTo>
                  <a:lnTo>
                    <a:pt x="856" y="352"/>
                  </a:lnTo>
                  <a:lnTo>
                    <a:pt x="868" y="308"/>
                  </a:lnTo>
                  <a:lnTo>
                    <a:pt x="880" y="280"/>
                  </a:lnTo>
                  <a:lnTo>
                    <a:pt x="892" y="244"/>
                  </a:lnTo>
                  <a:lnTo>
                    <a:pt x="920" y="236"/>
                  </a:lnTo>
                  <a:lnTo>
                    <a:pt x="916" y="204"/>
                  </a:lnTo>
                  <a:lnTo>
                    <a:pt x="884" y="224"/>
                  </a:lnTo>
                  <a:lnTo>
                    <a:pt x="820" y="208"/>
                  </a:lnTo>
                  <a:lnTo>
                    <a:pt x="776" y="200"/>
                  </a:lnTo>
                  <a:lnTo>
                    <a:pt x="804" y="240"/>
                  </a:lnTo>
                  <a:lnTo>
                    <a:pt x="772" y="248"/>
                  </a:lnTo>
                  <a:lnTo>
                    <a:pt x="760" y="220"/>
                  </a:lnTo>
                  <a:lnTo>
                    <a:pt x="740" y="188"/>
                  </a:lnTo>
                  <a:lnTo>
                    <a:pt x="712" y="168"/>
                  </a:lnTo>
                  <a:lnTo>
                    <a:pt x="736" y="204"/>
                  </a:lnTo>
                  <a:lnTo>
                    <a:pt x="704" y="200"/>
                  </a:lnTo>
                  <a:lnTo>
                    <a:pt x="676" y="224"/>
                  </a:lnTo>
                  <a:lnTo>
                    <a:pt x="644" y="216"/>
                  </a:lnTo>
                  <a:lnTo>
                    <a:pt x="612" y="240"/>
                  </a:lnTo>
                  <a:lnTo>
                    <a:pt x="592" y="200"/>
                  </a:lnTo>
                  <a:lnTo>
                    <a:pt x="620" y="176"/>
                  </a:lnTo>
                  <a:lnTo>
                    <a:pt x="600" y="152"/>
                  </a:lnTo>
                  <a:lnTo>
                    <a:pt x="612" y="108"/>
                  </a:lnTo>
                  <a:lnTo>
                    <a:pt x="576" y="76"/>
                  </a:lnTo>
                  <a:lnTo>
                    <a:pt x="568" y="40"/>
                  </a:lnTo>
                  <a:lnTo>
                    <a:pt x="536" y="8"/>
                  </a:lnTo>
                  <a:lnTo>
                    <a:pt x="492" y="28"/>
                  </a:lnTo>
                  <a:lnTo>
                    <a:pt x="432" y="12"/>
                  </a:lnTo>
                  <a:lnTo>
                    <a:pt x="384" y="0"/>
                  </a:lnTo>
                  <a:lnTo>
                    <a:pt x="360" y="8"/>
                  </a:lnTo>
                  <a:lnTo>
                    <a:pt x="324" y="24"/>
                  </a:lnTo>
                  <a:lnTo>
                    <a:pt x="292" y="16"/>
                  </a:lnTo>
                  <a:lnTo>
                    <a:pt x="284" y="48"/>
                  </a:lnTo>
                  <a:lnTo>
                    <a:pt x="244" y="44"/>
                  </a:lnTo>
                  <a:lnTo>
                    <a:pt x="260" y="80"/>
                  </a:lnTo>
                  <a:lnTo>
                    <a:pt x="240" y="96"/>
                  </a:lnTo>
                  <a:lnTo>
                    <a:pt x="192" y="116"/>
                  </a:lnTo>
                  <a:lnTo>
                    <a:pt x="148" y="120"/>
                  </a:lnTo>
                  <a:lnTo>
                    <a:pt x="132" y="140"/>
                  </a:lnTo>
                  <a:lnTo>
                    <a:pt x="96" y="128"/>
                  </a:lnTo>
                  <a:lnTo>
                    <a:pt x="80" y="152"/>
                  </a:lnTo>
                  <a:lnTo>
                    <a:pt x="36" y="144"/>
                  </a:lnTo>
                  <a:lnTo>
                    <a:pt x="0" y="15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61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6776021" y="2734313"/>
              <a:ext cx="711610" cy="819128"/>
            </a:xfrm>
            <a:custGeom>
              <a:avLst/>
              <a:gdLst>
                <a:gd name="T0" fmla="*/ 15560 w 786"/>
                <a:gd name="T1" fmla="*/ 371155 h 904"/>
                <a:gd name="T2" fmla="*/ 31120 w 786"/>
                <a:gd name="T3" fmla="*/ 301077 h 904"/>
                <a:gd name="T4" fmla="*/ 77800 w 786"/>
                <a:gd name="T5" fmla="*/ 282909 h 904"/>
                <a:gd name="T6" fmla="*/ 142633 w 786"/>
                <a:gd name="T7" fmla="*/ 319245 h 904"/>
                <a:gd name="T8" fmla="*/ 155599 w 786"/>
                <a:gd name="T9" fmla="*/ 256954 h 904"/>
                <a:gd name="T10" fmla="*/ 233399 w 786"/>
                <a:gd name="T11" fmla="*/ 218021 h 904"/>
                <a:gd name="T12" fmla="*/ 267112 w 786"/>
                <a:gd name="T13" fmla="*/ 132370 h 904"/>
                <a:gd name="T14" fmla="*/ 295639 w 786"/>
                <a:gd name="T15" fmla="*/ 134966 h 904"/>
                <a:gd name="T16" fmla="*/ 370845 w 786"/>
                <a:gd name="T17" fmla="*/ 46719 h 904"/>
                <a:gd name="T18" fmla="*/ 471984 w 786"/>
                <a:gd name="T19" fmla="*/ 0 h 904"/>
                <a:gd name="T20" fmla="*/ 464204 w 786"/>
                <a:gd name="T21" fmla="*/ 75269 h 904"/>
                <a:gd name="T22" fmla="*/ 409745 w 786"/>
                <a:gd name="T23" fmla="*/ 103820 h 904"/>
                <a:gd name="T24" fmla="*/ 666484 w 786"/>
                <a:gd name="T25" fmla="*/ 262145 h 904"/>
                <a:gd name="T26" fmla="*/ 1019175 w 786"/>
                <a:gd name="T27" fmla="*/ 581390 h 904"/>
                <a:gd name="T28" fmla="*/ 988055 w 786"/>
                <a:gd name="T29" fmla="*/ 643682 h 904"/>
                <a:gd name="T30" fmla="*/ 954342 w 786"/>
                <a:gd name="T31" fmla="*/ 667041 h 904"/>
                <a:gd name="T32" fmla="*/ 954342 w 786"/>
                <a:gd name="T33" fmla="*/ 703378 h 904"/>
                <a:gd name="T34" fmla="*/ 886916 w 786"/>
                <a:gd name="T35" fmla="*/ 747502 h 904"/>
                <a:gd name="T36" fmla="*/ 858389 w 786"/>
                <a:gd name="T37" fmla="*/ 794220 h 904"/>
                <a:gd name="T38" fmla="*/ 958232 w 786"/>
                <a:gd name="T39" fmla="*/ 859108 h 904"/>
                <a:gd name="T40" fmla="*/ 993242 w 786"/>
                <a:gd name="T41" fmla="*/ 929186 h 904"/>
                <a:gd name="T42" fmla="*/ 998428 w 786"/>
                <a:gd name="T43" fmla="*/ 1017433 h 904"/>
                <a:gd name="T44" fmla="*/ 949155 w 786"/>
                <a:gd name="T45" fmla="*/ 1056365 h 904"/>
                <a:gd name="T46" fmla="*/ 832456 w 786"/>
                <a:gd name="T47" fmla="*/ 1030410 h 904"/>
                <a:gd name="T48" fmla="*/ 775403 w 786"/>
                <a:gd name="T49" fmla="*/ 981096 h 904"/>
                <a:gd name="T50" fmla="*/ 687230 w 786"/>
                <a:gd name="T51" fmla="*/ 952545 h 904"/>
                <a:gd name="T52" fmla="*/ 648330 w 786"/>
                <a:gd name="T53" fmla="*/ 1017433 h 904"/>
                <a:gd name="T54" fmla="*/ 643143 w 786"/>
                <a:gd name="T55" fmla="*/ 1071938 h 904"/>
                <a:gd name="T56" fmla="*/ 601650 w 786"/>
                <a:gd name="T57" fmla="*/ 1077129 h 904"/>
                <a:gd name="T58" fmla="*/ 560157 w 786"/>
                <a:gd name="T59" fmla="*/ 1084915 h 904"/>
                <a:gd name="T60" fmla="*/ 484951 w 786"/>
                <a:gd name="T61" fmla="*/ 1118657 h 904"/>
                <a:gd name="T62" fmla="*/ 430491 w 786"/>
                <a:gd name="T63" fmla="*/ 1139421 h 904"/>
                <a:gd name="T64" fmla="*/ 368252 w 786"/>
                <a:gd name="T65" fmla="*/ 1170567 h 904"/>
                <a:gd name="T66" fmla="*/ 404558 w 786"/>
                <a:gd name="T67" fmla="*/ 1118657 h 904"/>
                <a:gd name="T68" fmla="*/ 368252 w 786"/>
                <a:gd name="T69" fmla="*/ 1082320 h 904"/>
                <a:gd name="T70" fmla="*/ 306012 w 786"/>
                <a:gd name="T71" fmla="*/ 1064151 h 904"/>
                <a:gd name="T72" fmla="*/ 272299 w 786"/>
                <a:gd name="T73" fmla="*/ 1033006 h 904"/>
                <a:gd name="T74" fmla="*/ 197092 w 786"/>
                <a:gd name="T75" fmla="*/ 1053769 h 904"/>
                <a:gd name="T76" fmla="*/ 186719 w 786"/>
                <a:gd name="T77" fmla="*/ 1012242 h 904"/>
                <a:gd name="T78" fmla="*/ 178939 w 786"/>
                <a:gd name="T79" fmla="*/ 965523 h 904"/>
                <a:gd name="T80" fmla="*/ 184126 w 786"/>
                <a:gd name="T81" fmla="*/ 918804 h 904"/>
                <a:gd name="T82" fmla="*/ 127073 w 786"/>
                <a:gd name="T83" fmla="*/ 898040 h 904"/>
                <a:gd name="T84" fmla="*/ 176346 w 786"/>
                <a:gd name="T85" fmla="*/ 822771 h 904"/>
                <a:gd name="T86" fmla="*/ 137446 w 786"/>
                <a:gd name="T87" fmla="*/ 726738 h 904"/>
                <a:gd name="T88" fmla="*/ 82986 w 786"/>
                <a:gd name="T89" fmla="*/ 555435 h 904"/>
                <a:gd name="T90" fmla="*/ 41493 w 786"/>
                <a:gd name="T91" fmla="*/ 493143 h 904"/>
                <a:gd name="T92" fmla="*/ 46680 w 786"/>
                <a:gd name="T93" fmla="*/ 415279 h 90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86"/>
                <a:gd name="T142" fmla="*/ 0 h 904"/>
                <a:gd name="T143" fmla="*/ 786 w 786"/>
                <a:gd name="T144" fmla="*/ 904 h 90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86" h="904">
                  <a:moveTo>
                    <a:pt x="0" y="304"/>
                  </a:moveTo>
                  <a:lnTo>
                    <a:pt x="12" y="286"/>
                  </a:lnTo>
                  <a:lnTo>
                    <a:pt x="10" y="254"/>
                  </a:lnTo>
                  <a:lnTo>
                    <a:pt x="24" y="232"/>
                  </a:lnTo>
                  <a:lnTo>
                    <a:pt x="48" y="228"/>
                  </a:lnTo>
                  <a:lnTo>
                    <a:pt x="60" y="218"/>
                  </a:lnTo>
                  <a:lnTo>
                    <a:pt x="70" y="234"/>
                  </a:lnTo>
                  <a:lnTo>
                    <a:pt x="110" y="246"/>
                  </a:lnTo>
                  <a:lnTo>
                    <a:pt x="108" y="216"/>
                  </a:lnTo>
                  <a:lnTo>
                    <a:pt x="120" y="198"/>
                  </a:lnTo>
                  <a:lnTo>
                    <a:pt x="154" y="168"/>
                  </a:lnTo>
                  <a:lnTo>
                    <a:pt x="180" y="168"/>
                  </a:lnTo>
                  <a:lnTo>
                    <a:pt x="210" y="124"/>
                  </a:lnTo>
                  <a:lnTo>
                    <a:pt x="206" y="102"/>
                  </a:lnTo>
                  <a:lnTo>
                    <a:pt x="216" y="94"/>
                  </a:lnTo>
                  <a:lnTo>
                    <a:pt x="228" y="104"/>
                  </a:lnTo>
                  <a:lnTo>
                    <a:pt x="292" y="58"/>
                  </a:lnTo>
                  <a:lnTo>
                    <a:pt x="286" y="36"/>
                  </a:lnTo>
                  <a:lnTo>
                    <a:pt x="318" y="42"/>
                  </a:lnTo>
                  <a:lnTo>
                    <a:pt x="364" y="0"/>
                  </a:lnTo>
                  <a:lnTo>
                    <a:pt x="362" y="28"/>
                  </a:lnTo>
                  <a:lnTo>
                    <a:pt x="358" y="58"/>
                  </a:lnTo>
                  <a:lnTo>
                    <a:pt x="336" y="74"/>
                  </a:lnTo>
                  <a:lnTo>
                    <a:pt x="316" y="80"/>
                  </a:lnTo>
                  <a:lnTo>
                    <a:pt x="332" y="102"/>
                  </a:lnTo>
                  <a:lnTo>
                    <a:pt x="514" y="202"/>
                  </a:lnTo>
                  <a:lnTo>
                    <a:pt x="736" y="434"/>
                  </a:lnTo>
                  <a:lnTo>
                    <a:pt x="786" y="448"/>
                  </a:lnTo>
                  <a:lnTo>
                    <a:pt x="770" y="476"/>
                  </a:lnTo>
                  <a:lnTo>
                    <a:pt x="762" y="496"/>
                  </a:lnTo>
                  <a:lnTo>
                    <a:pt x="754" y="512"/>
                  </a:lnTo>
                  <a:lnTo>
                    <a:pt x="736" y="514"/>
                  </a:lnTo>
                  <a:lnTo>
                    <a:pt x="724" y="528"/>
                  </a:lnTo>
                  <a:lnTo>
                    <a:pt x="736" y="542"/>
                  </a:lnTo>
                  <a:lnTo>
                    <a:pt x="706" y="566"/>
                  </a:lnTo>
                  <a:lnTo>
                    <a:pt x="684" y="576"/>
                  </a:lnTo>
                  <a:lnTo>
                    <a:pt x="658" y="596"/>
                  </a:lnTo>
                  <a:lnTo>
                    <a:pt x="662" y="612"/>
                  </a:lnTo>
                  <a:lnTo>
                    <a:pt x="700" y="644"/>
                  </a:lnTo>
                  <a:lnTo>
                    <a:pt x="739" y="662"/>
                  </a:lnTo>
                  <a:lnTo>
                    <a:pt x="754" y="690"/>
                  </a:lnTo>
                  <a:lnTo>
                    <a:pt x="766" y="716"/>
                  </a:lnTo>
                  <a:lnTo>
                    <a:pt x="782" y="740"/>
                  </a:lnTo>
                  <a:lnTo>
                    <a:pt x="770" y="784"/>
                  </a:lnTo>
                  <a:lnTo>
                    <a:pt x="754" y="808"/>
                  </a:lnTo>
                  <a:lnTo>
                    <a:pt x="732" y="814"/>
                  </a:lnTo>
                  <a:lnTo>
                    <a:pt x="672" y="798"/>
                  </a:lnTo>
                  <a:lnTo>
                    <a:pt x="642" y="794"/>
                  </a:lnTo>
                  <a:lnTo>
                    <a:pt x="622" y="768"/>
                  </a:lnTo>
                  <a:lnTo>
                    <a:pt x="598" y="756"/>
                  </a:lnTo>
                  <a:lnTo>
                    <a:pt x="568" y="754"/>
                  </a:lnTo>
                  <a:lnTo>
                    <a:pt x="530" y="734"/>
                  </a:lnTo>
                  <a:lnTo>
                    <a:pt x="512" y="744"/>
                  </a:lnTo>
                  <a:lnTo>
                    <a:pt x="500" y="784"/>
                  </a:lnTo>
                  <a:lnTo>
                    <a:pt x="504" y="816"/>
                  </a:lnTo>
                  <a:lnTo>
                    <a:pt x="496" y="826"/>
                  </a:lnTo>
                  <a:lnTo>
                    <a:pt x="474" y="818"/>
                  </a:lnTo>
                  <a:lnTo>
                    <a:pt x="464" y="830"/>
                  </a:lnTo>
                  <a:lnTo>
                    <a:pt x="454" y="844"/>
                  </a:lnTo>
                  <a:lnTo>
                    <a:pt x="432" y="836"/>
                  </a:lnTo>
                  <a:lnTo>
                    <a:pt x="400" y="848"/>
                  </a:lnTo>
                  <a:lnTo>
                    <a:pt x="374" y="862"/>
                  </a:lnTo>
                  <a:lnTo>
                    <a:pt x="358" y="868"/>
                  </a:lnTo>
                  <a:lnTo>
                    <a:pt x="332" y="878"/>
                  </a:lnTo>
                  <a:lnTo>
                    <a:pt x="302" y="904"/>
                  </a:lnTo>
                  <a:lnTo>
                    <a:pt x="284" y="902"/>
                  </a:lnTo>
                  <a:lnTo>
                    <a:pt x="284" y="888"/>
                  </a:lnTo>
                  <a:lnTo>
                    <a:pt x="312" y="862"/>
                  </a:lnTo>
                  <a:lnTo>
                    <a:pt x="296" y="850"/>
                  </a:lnTo>
                  <a:lnTo>
                    <a:pt x="284" y="834"/>
                  </a:lnTo>
                  <a:lnTo>
                    <a:pt x="254" y="812"/>
                  </a:lnTo>
                  <a:lnTo>
                    <a:pt x="236" y="820"/>
                  </a:lnTo>
                  <a:lnTo>
                    <a:pt x="228" y="804"/>
                  </a:lnTo>
                  <a:lnTo>
                    <a:pt x="210" y="796"/>
                  </a:lnTo>
                  <a:lnTo>
                    <a:pt x="180" y="808"/>
                  </a:lnTo>
                  <a:lnTo>
                    <a:pt x="152" y="812"/>
                  </a:lnTo>
                  <a:lnTo>
                    <a:pt x="138" y="800"/>
                  </a:lnTo>
                  <a:lnTo>
                    <a:pt x="144" y="780"/>
                  </a:lnTo>
                  <a:lnTo>
                    <a:pt x="148" y="764"/>
                  </a:lnTo>
                  <a:lnTo>
                    <a:pt x="138" y="744"/>
                  </a:lnTo>
                  <a:lnTo>
                    <a:pt x="148" y="728"/>
                  </a:lnTo>
                  <a:lnTo>
                    <a:pt x="142" y="708"/>
                  </a:lnTo>
                  <a:lnTo>
                    <a:pt x="120" y="692"/>
                  </a:lnTo>
                  <a:lnTo>
                    <a:pt x="98" y="692"/>
                  </a:lnTo>
                  <a:lnTo>
                    <a:pt x="78" y="686"/>
                  </a:lnTo>
                  <a:lnTo>
                    <a:pt x="136" y="634"/>
                  </a:lnTo>
                  <a:lnTo>
                    <a:pt x="88" y="596"/>
                  </a:lnTo>
                  <a:lnTo>
                    <a:pt x="106" y="560"/>
                  </a:lnTo>
                  <a:lnTo>
                    <a:pt x="86" y="436"/>
                  </a:lnTo>
                  <a:lnTo>
                    <a:pt x="64" y="428"/>
                  </a:lnTo>
                  <a:lnTo>
                    <a:pt x="78" y="372"/>
                  </a:lnTo>
                  <a:lnTo>
                    <a:pt x="32" y="380"/>
                  </a:lnTo>
                  <a:lnTo>
                    <a:pt x="12" y="352"/>
                  </a:lnTo>
                  <a:lnTo>
                    <a:pt x="36" y="320"/>
                  </a:lnTo>
                  <a:lnTo>
                    <a:pt x="0" y="30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 262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541432" y="3420430"/>
              <a:ext cx="1279126" cy="1069633"/>
            </a:xfrm>
            <a:custGeom>
              <a:avLst/>
              <a:gdLst>
                <a:gd name="T0" fmla="*/ 206146 w 1413"/>
                <a:gd name="T1" fmla="*/ 0 h 1182"/>
                <a:gd name="T2" fmla="*/ 307274 w 1413"/>
                <a:gd name="T3" fmla="*/ 50546 h 1182"/>
                <a:gd name="T4" fmla="*/ 330611 w 1413"/>
                <a:gd name="T5" fmla="*/ 124421 h 1182"/>
                <a:gd name="T6" fmla="*/ 392844 w 1413"/>
                <a:gd name="T7" fmla="*/ 147750 h 1182"/>
                <a:gd name="T8" fmla="*/ 474524 w 1413"/>
                <a:gd name="T9" fmla="*/ 77763 h 1182"/>
                <a:gd name="T10" fmla="*/ 532867 w 1413"/>
                <a:gd name="T11" fmla="*/ 50546 h 1182"/>
                <a:gd name="T12" fmla="*/ 567873 w 1413"/>
                <a:gd name="T13" fmla="*/ 50546 h 1182"/>
                <a:gd name="T14" fmla="*/ 633996 w 1413"/>
                <a:gd name="T15" fmla="*/ 27217 h 1182"/>
                <a:gd name="T16" fmla="*/ 715676 w 1413"/>
                <a:gd name="T17" fmla="*/ 77763 h 1182"/>
                <a:gd name="T18" fmla="*/ 766240 w 1413"/>
                <a:gd name="T19" fmla="*/ 38882 h 1182"/>
                <a:gd name="T20" fmla="*/ 832362 w 1413"/>
                <a:gd name="T21" fmla="*/ 31105 h 1182"/>
                <a:gd name="T22" fmla="*/ 871258 w 1413"/>
                <a:gd name="T23" fmla="*/ 85540 h 1182"/>
                <a:gd name="T24" fmla="*/ 906264 w 1413"/>
                <a:gd name="T25" fmla="*/ 143862 h 1182"/>
                <a:gd name="T26" fmla="*/ 991834 w 1413"/>
                <a:gd name="T27" fmla="*/ 174968 h 1182"/>
                <a:gd name="T28" fmla="*/ 1077404 w 1413"/>
                <a:gd name="T29" fmla="*/ 186632 h 1182"/>
                <a:gd name="T30" fmla="*/ 1108520 w 1413"/>
                <a:gd name="T31" fmla="*/ 120533 h 1182"/>
                <a:gd name="T32" fmla="*/ 1162973 w 1413"/>
                <a:gd name="T33" fmla="*/ 159415 h 1182"/>
                <a:gd name="T34" fmla="*/ 1330224 w 1413"/>
                <a:gd name="T35" fmla="*/ 139974 h 1182"/>
                <a:gd name="T36" fmla="*/ 1349672 w 1413"/>
                <a:gd name="T37" fmla="*/ 38882 h 1182"/>
                <a:gd name="T38" fmla="*/ 1419684 w 1413"/>
                <a:gd name="T39" fmla="*/ 46658 h 1182"/>
                <a:gd name="T40" fmla="*/ 1470248 w 1413"/>
                <a:gd name="T41" fmla="*/ 101092 h 1182"/>
                <a:gd name="T42" fmla="*/ 1454689 w 1413"/>
                <a:gd name="T43" fmla="*/ 139974 h 1182"/>
                <a:gd name="T44" fmla="*/ 1567486 w 1413"/>
                <a:gd name="T45" fmla="*/ 291613 h 1182"/>
                <a:gd name="T46" fmla="*/ 1559707 w 1413"/>
                <a:gd name="T47" fmla="*/ 361600 h 1182"/>
                <a:gd name="T48" fmla="*/ 1509143 w 1413"/>
                <a:gd name="T49" fmla="*/ 416034 h 1182"/>
                <a:gd name="T50" fmla="*/ 1485806 w 1413"/>
                <a:gd name="T51" fmla="*/ 489909 h 1182"/>
                <a:gd name="T52" fmla="*/ 1489695 w 1413"/>
                <a:gd name="T53" fmla="*/ 556008 h 1182"/>
                <a:gd name="T54" fmla="*/ 1590823 w 1413"/>
                <a:gd name="T55" fmla="*/ 625995 h 1182"/>
                <a:gd name="T56" fmla="*/ 1625829 w 1413"/>
                <a:gd name="T57" fmla="*/ 695982 h 1182"/>
                <a:gd name="T58" fmla="*/ 1758074 w 1413"/>
                <a:gd name="T59" fmla="*/ 762081 h 1182"/>
                <a:gd name="T60" fmla="*/ 1789190 w 1413"/>
                <a:gd name="T61" fmla="*/ 851509 h 1182"/>
                <a:gd name="T62" fmla="*/ 1750295 w 1413"/>
                <a:gd name="T63" fmla="*/ 968154 h 1182"/>
                <a:gd name="T64" fmla="*/ 1586934 w 1413"/>
                <a:gd name="T65" fmla="*/ 1073134 h 1182"/>
                <a:gd name="T66" fmla="*/ 1524701 w 1413"/>
                <a:gd name="T67" fmla="*/ 1022588 h 1182"/>
                <a:gd name="T68" fmla="*/ 1458579 w 1413"/>
                <a:gd name="T69" fmla="*/ 972042 h 1182"/>
                <a:gd name="T70" fmla="*/ 1396346 w 1413"/>
                <a:gd name="T71" fmla="*/ 894278 h 1182"/>
                <a:gd name="T72" fmla="*/ 1244654 w 1413"/>
                <a:gd name="T73" fmla="*/ 1080910 h 1182"/>
                <a:gd name="T74" fmla="*/ 1166863 w 1413"/>
                <a:gd name="T75" fmla="*/ 1115904 h 1182"/>
                <a:gd name="T76" fmla="*/ 1038508 w 1413"/>
                <a:gd name="T77" fmla="*/ 1170338 h 1182"/>
                <a:gd name="T78" fmla="*/ 929601 w 1413"/>
                <a:gd name="T79" fmla="*/ 1310312 h 1182"/>
                <a:gd name="T80" fmla="*/ 840141 w 1413"/>
                <a:gd name="T81" fmla="*/ 1442510 h 1182"/>
                <a:gd name="T82" fmla="*/ 455077 w 1413"/>
                <a:gd name="T83" fmla="*/ 1531938 h 1182"/>
                <a:gd name="T84" fmla="*/ 420071 w 1413"/>
                <a:gd name="T85" fmla="*/ 1248102 h 1182"/>
                <a:gd name="T86" fmla="*/ 400623 w 1413"/>
                <a:gd name="T87" fmla="*/ 1189779 h 1182"/>
                <a:gd name="T88" fmla="*/ 280047 w 1413"/>
                <a:gd name="T89" fmla="*/ 1135345 h 1182"/>
                <a:gd name="T90" fmla="*/ 198367 w 1413"/>
                <a:gd name="T91" fmla="*/ 1014812 h 1182"/>
                <a:gd name="T92" fmla="*/ 225594 w 1413"/>
                <a:gd name="T93" fmla="*/ 855397 h 1182"/>
                <a:gd name="T94" fmla="*/ 206146 w 1413"/>
                <a:gd name="T95" fmla="*/ 769857 h 1182"/>
                <a:gd name="T96" fmla="*/ 202256 w 1413"/>
                <a:gd name="T97" fmla="*/ 657100 h 1182"/>
                <a:gd name="T98" fmla="*/ 198367 w 1413"/>
                <a:gd name="T99" fmla="*/ 598778 h 1182"/>
                <a:gd name="T100" fmla="*/ 147803 w 1413"/>
                <a:gd name="T101" fmla="*/ 614330 h 1182"/>
                <a:gd name="T102" fmla="*/ 58343 w 1413"/>
                <a:gd name="T103" fmla="*/ 505462 h 1182"/>
                <a:gd name="T104" fmla="*/ 0 w 1413"/>
                <a:gd name="T105" fmla="*/ 451027 h 1182"/>
                <a:gd name="T106" fmla="*/ 38895 w 1413"/>
                <a:gd name="T107" fmla="*/ 338271 h 1182"/>
                <a:gd name="T108" fmla="*/ 190588 w 1413"/>
                <a:gd name="T109" fmla="*/ 276060 h 1182"/>
                <a:gd name="T110" fmla="*/ 213925 w 1413"/>
                <a:gd name="T111" fmla="*/ 50546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13"/>
                <a:gd name="T169" fmla="*/ 0 h 1182"/>
                <a:gd name="T170" fmla="*/ 1413 w 1413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13" h="1182">
                  <a:moveTo>
                    <a:pt x="165" y="39"/>
                  </a:moveTo>
                  <a:lnTo>
                    <a:pt x="159" y="0"/>
                  </a:lnTo>
                  <a:lnTo>
                    <a:pt x="207" y="21"/>
                  </a:lnTo>
                  <a:lnTo>
                    <a:pt x="237" y="39"/>
                  </a:lnTo>
                  <a:lnTo>
                    <a:pt x="237" y="63"/>
                  </a:lnTo>
                  <a:lnTo>
                    <a:pt x="255" y="96"/>
                  </a:lnTo>
                  <a:lnTo>
                    <a:pt x="276" y="96"/>
                  </a:lnTo>
                  <a:lnTo>
                    <a:pt x="303" y="114"/>
                  </a:lnTo>
                  <a:lnTo>
                    <a:pt x="348" y="90"/>
                  </a:lnTo>
                  <a:lnTo>
                    <a:pt x="366" y="60"/>
                  </a:lnTo>
                  <a:lnTo>
                    <a:pt x="381" y="48"/>
                  </a:lnTo>
                  <a:lnTo>
                    <a:pt x="411" y="39"/>
                  </a:lnTo>
                  <a:lnTo>
                    <a:pt x="417" y="15"/>
                  </a:lnTo>
                  <a:lnTo>
                    <a:pt x="438" y="39"/>
                  </a:lnTo>
                  <a:lnTo>
                    <a:pt x="459" y="18"/>
                  </a:lnTo>
                  <a:lnTo>
                    <a:pt x="489" y="21"/>
                  </a:lnTo>
                  <a:lnTo>
                    <a:pt x="531" y="72"/>
                  </a:lnTo>
                  <a:lnTo>
                    <a:pt x="552" y="60"/>
                  </a:lnTo>
                  <a:lnTo>
                    <a:pt x="573" y="21"/>
                  </a:lnTo>
                  <a:lnTo>
                    <a:pt x="591" y="30"/>
                  </a:lnTo>
                  <a:lnTo>
                    <a:pt x="624" y="36"/>
                  </a:lnTo>
                  <a:lnTo>
                    <a:pt x="642" y="24"/>
                  </a:lnTo>
                  <a:lnTo>
                    <a:pt x="666" y="39"/>
                  </a:lnTo>
                  <a:lnTo>
                    <a:pt x="672" y="66"/>
                  </a:lnTo>
                  <a:lnTo>
                    <a:pt x="675" y="87"/>
                  </a:lnTo>
                  <a:lnTo>
                    <a:pt x="699" y="111"/>
                  </a:lnTo>
                  <a:lnTo>
                    <a:pt x="735" y="117"/>
                  </a:lnTo>
                  <a:lnTo>
                    <a:pt x="765" y="135"/>
                  </a:lnTo>
                  <a:lnTo>
                    <a:pt x="798" y="156"/>
                  </a:lnTo>
                  <a:lnTo>
                    <a:pt x="831" y="144"/>
                  </a:lnTo>
                  <a:lnTo>
                    <a:pt x="840" y="117"/>
                  </a:lnTo>
                  <a:lnTo>
                    <a:pt x="855" y="93"/>
                  </a:lnTo>
                  <a:lnTo>
                    <a:pt x="876" y="111"/>
                  </a:lnTo>
                  <a:lnTo>
                    <a:pt x="897" y="123"/>
                  </a:lnTo>
                  <a:lnTo>
                    <a:pt x="939" y="132"/>
                  </a:lnTo>
                  <a:lnTo>
                    <a:pt x="1026" y="108"/>
                  </a:lnTo>
                  <a:lnTo>
                    <a:pt x="1041" y="60"/>
                  </a:lnTo>
                  <a:lnTo>
                    <a:pt x="1041" y="30"/>
                  </a:lnTo>
                  <a:lnTo>
                    <a:pt x="1071" y="9"/>
                  </a:lnTo>
                  <a:lnTo>
                    <a:pt x="1095" y="36"/>
                  </a:lnTo>
                  <a:lnTo>
                    <a:pt x="1140" y="54"/>
                  </a:lnTo>
                  <a:lnTo>
                    <a:pt x="1134" y="78"/>
                  </a:lnTo>
                  <a:lnTo>
                    <a:pt x="1152" y="87"/>
                  </a:lnTo>
                  <a:lnTo>
                    <a:pt x="1122" y="108"/>
                  </a:lnTo>
                  <a:lnTo>
                    <a:pt x="1158" y="147"/>
                  </a:lnTo>
                  <a:lnTo>
                    <a:pt x="1209" y="225"/>
                  </a:lnTo>
                  <a:lnTo>
                    <a:pt x="1233" y="285"/>
                  </a:lnTo>
                  <a:lnTo>
                    <a:pt x="1203" y="279"/>
                  </a:lnTo>
                  <a:lnTo>
                    <a:pt x="1185" y="315"/>
                  </a:lnTo>
                  <a:lnTo>
                    <a:pt x="1164" y="321"/>
                  </a:lnTo>
                  <a:lnTo>
                    <a:pt x="1167" y="357"/>
                  </a:lnTo>
                  <a:lnTo>
                    <a:pt x="1146" y="378"/>
                  </a:lnTo>
                  <a:lnTo>
                    <a:pt x="1170" y="405"/>
                  </a:lnTo>
                  <a:lnTo>
                    <a:pt x="1149" y="429"/>
                  </a:lnTo>
                  <a:lnTo>
                    <a:pt x="1215" y="507"/>
                  </a:lnTo>
                  <a:lnTo>
                    <a:pt x="1227" y="483"/>
                  </a:lnTo>
                  <a:lnTo>
                    <a:pt x="1245" y="504"/>
                  </a:lnTo>
                  <a:lnTo>
                    <a:pt x="1254" y="537"/>
                  </a:lnTo>
                  <a:lnTo>
                    <a:pt x="1308" y="564"/>
                  </a:lnTo>
                  <a:lnTo>
                    <a:pt x="1356" y="588"/>
                  </a:lnTo>
                  <a:lnTo>
                    <a:pt x="1380" y="639"/>
                  </a:lnTo>
                  <a:lnTo>
                    <a:pt x="1380" y="657"/>
                  </a:lnTo>
                  <a:lnTo>
                    <a:pt x="1413" y="693"/>
                  </a:lnTo>
                  <a:lnTo>
                    <a:pt x="1350" y="747"/>
                  </a:lnTo>
                  <a:lnTo>
                    <a:pt x="1266" y="807"/>
                  </a:lnTo>
                  <a:lnTo>
                    <a:pt x="1224" y="828"/>
                  </a:lnTo>
                  <a:lnTo>
                    <a:pt x="1173" y="816"/>
                  </a:lnTo>
                  <a:lnTo>
                    <a:pt x="1176" y="789"/>
                  </a:lnTo>
                  <a:lnTo>
                    <a:pt x="1155" y="768"/>
                  </a:lnTo>
                  <a:lnTo>
                    <a:pt x="1125" y="750"/>
                  </a:lnTo>
                  <a:lnTo>
                    <a:pt x="1095" y="696"/>
                  </a:lnTo>
                  <a:lnTo>
                    <a:pt x="1077" y="690"/>
                  </a:lnTo>
                  <a:lnTo>
                    <a:pt x="1020" y="690"/>
                  </a:lnTo>
                  <a:lnTo>
                    <a:pt x="960" y="834"/>
                  </a:lnTo>
                  <a:lnTo>
                    <a:pt x="906" y="828"/>
                  </a:lnTo>
                  <a:lnTo>
                    <a:pt x="900" y="861"/>
                  </a:lnTo>
                  <a:lnTo>
                    <a:pt x="876" y="870"/>
                  </a:lnTo>
                  <a:lnTo>
                    <a:pt x="801" y="903"/>
                  </a:lnTo>
                  <a:lnTo>
                    <a:pt x="762" y="954"/>
                  </a:lnTo>
                  <a:lnTo>
                    <a:pt x="717" y="1011"/>
                  </a:lnTo>
                  <a:lnTo>
                    <a:pt x="678" y="1068"/>
                  </a:lnTo>
                  <a:lnTo>
                    <a:pt x="648" y="1113"/>
                  </a:lnTo>
                  <a:lnTo>
                    <a:pt x="576" y="1134"/>
                  </a:lnTo>
                  <a:lnTo>
                    <a:pt x="351" y="1182"/>
                  </a:lnTo>
                  <a:lnTo>
                    <a:pt x="327" y="1011"/>
                  </a:lnTo>
                  <a:lnTo>
                    <a:pt x="324" y="963"/>
                  </a:lnTo>
                  <a:lnTo>
                    <a:pt x="309" y="948"/>
                  </a:lnTo>
                  <a:lnTo>
                    <a:pt x="309" y="918"/>
                  </a:lnTo>
                  <a:lnTo>
                    <a:pt x="261" y="897"/>
                  </a:lnTo>
                  <a:lnTo>
                    <a:pt x="216" y="876"/>
                  </a:lnTo>
                  <a:lnTo>
                    <a:pt x="183" y="828"/>
                  </a:lnTo>
                  <a:lnTo>
                    <a:pt x="153" y="783"/>
                  </a:lnTo>
                  <a:lnTo>
                    <a:pt x="144" y="747"/>
                  </a:lnTo>
                  <a:lnTo>
                    <a:pt x="174" y="660"/>
                  </a:lnTo>
                  <a:lnTo>
                    <a:pt x="177" y="612"/>
                  </a:lnTo>
                  <a:lnTo>
                    <a:pt x="159" y="594"/>
                  </a:lnTo>
                  <a:cubicBezTo>
                    <a:pt x="168" y="554"/>
                    <a:pt x="159" y="572"/>
                    <a:pt x="159" y="558"/>
                  </a:cubicBezTo>
                  <a:lnTo>
                    <a:pt x="156" y="507"/>
                  </a:lnTo>
                  <a:lnTo>
                    <a:pt x="174" y="483"/>
                  </a:lnTo>
                  <a:lnTo>
                    <a:pt x="153" y="462"/>
                  </a:lnTo>
                  <a:lnTo>
                    <a:pt x="132" y="444"/>
                  </a:lnTo>
                  <a:lnTo>
                    <a:pt x="114" y="474"/>
                  </a:lnTo>
                  <a:lnTo>
                    <a:pt x="51" y="444"/>
                  </a:lnTo>
                  <a:lnTo>
                    <a:pt x="45" y="390"/>
                  </a:lnTo>
                  <a:lnTo>
                    <a:pt x="30" y="357"/>
                  </a:lnTo>
                  <a:lnTo>
                    <a:pt x="0" y="348"/>
                  </a:lnTo>
                  <a:lnTo>
                    <a:pt x="6" y="288"/>
                  </a:lnTo>
                  <a:lnTo>
                    <a:pt x="30" y="261"/>
                  </a:lnTo>
                  <a:lnTo>
                    <a:pt x="114" y="276"/>
                  </a:lnTo>
                  <a:lnTo>
                    <a:pt x="147" y="213"/>
                  </a:lnTo>
                  <a:lnTo>
                    <a:pt x="135" y="144"/>
                  </a:lnTo>
                  <a:lnTo>
                    <a:pt x="165" y="3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 263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661340" y="3224238"/>
              <a:ext cx="1031946" cy="640671"/>
            </a:xfrm>
            <a:custGeom>
              <a:avLst/>
              <a:gdLst>
                <a:gd name="T0" fmla="*/ 89456 w 1140"/>
                <a:gd name="T1" fmla="*/ 555988 h 708"/>
                <a:gd name="T2" fmla="*/ 140017 w 1140"/>
                <a:gd name="T3" fmla="*/ 540436 h 708"/>
                <a:gd name="T4" fmla="*/ 124460 w 1140"/>
                <a:gd name="T5" fmla="*/ 458788 h 708"/>
                <a:gd name="T6" fmla="*/ 237252 w 1140"/>
                <a:gd name="T7" fmla="*/ 326594 h 708"/>
                <a:gd name="T8" fmla="*/ 256699 w 1140"/>
                <a:gd name="T9" fmla="*/ 256610 h 708"/>
                <a:gd name="T10" fmla="*/ 315039 w 1140"/>
                <a:gd name="T11" fmla="*/ 202178 h 708"/>
                <a:gd name="T12" fmla="*/ 373380 w 1140"/>
                <a:gd name="T13" fmla="*/ 303266 h 708"/>
                <a:gd name="T14" fmla="*/ 400605 w 1140"/>
                <a:gd name="T15" fmla="*/ 392691 h 708"/>
                <a:gd name="T16" fmla="*/ 509508 w 1140"/>
                <a:gd name="T17" fmla="*/ 373251 h 708"/>
                <a:gd name="T18" fmla="*/ 501729 w 1140"/>
                <a:gd name="T19" fmla="*/ 314930 h 708"/>
                <a:gd name="T20" fmla="*/ 486172 w 1140"/>
                <a:gd name="T21" fmla="*/ 206066 h 708"/>
                <a:gd name="T22" fmla="*/ 633968 w 1140"/>
                <a:gd name="T23" fmla="*/ 198290 h 708"/>
                <a:gd name="T24" fmla="*/ 649525 w 1140"/>
                <a:gd name="T25" fmla="*/ 132193 h 708"/>
                <a:gd name="T26" fmla="*/ 723424 w 1140"/>
                <a:gd name="T27" fmla="*/ 124417 h 708"/>
                <a:gd name="T28" fmla="*/ 820658 w 1140"/>
                <a:gd name="T29" fmla="*/ 62208 h 708"/>
                <a:gd name="T30" fmla="*/ 871220 w 1140"/>
                <a:gd name="T31" fmla="*/ 19440 h 708"/>
                <a:gd name="T32" fmla="*/ 952896 w 1140"/>
                <a:gd name="T33" fmla="*/ 31104 h 708"/>
                <a:gd name="T34" fmla="*/ 980122 w 1140"/>
                <a:gd name="T35" fmla="*/ 81649 h 708"/>
                <a:gd name="T36" fmla="*/ 1019016 w 1140"/>
                <a:gd name="T37" fmla="*/ 69985 h 708"/>
                <a:gd name="T38" fmla="*/ 1065688 w 1140"/>
                <a:gd name="T39" fmla="*/ 50544 h 708"/>
                <a:gd name="T40" fmla="*/ 1151254 w 1140"/>
                <a:gd name="T41" fmla="*/ 31104 h 708"/>
                <a:gd name="T42" fmla="*/ 1186259 w 1140"/>
                <a:gd name="T43" fmla="*/ 116641 h 708"/>
                <a:gd name="T44" fmla="*/ 1295161 w 1140"/>
                <a:gd name="T45" fmla="*/ 132193 h 708"/>
                <a:gd name="T46" fmla="*/ 1337945 w 1140"/>
                <a:gd name="T47" fmla="*/ 202178 h 708"/>
                <a:gd name="T48" fmla="*/ 1431290 w 1140"/>
                <a:gd name="T49" fmla="*/ 291602 h 708"/>
                <a:gd name="T50" fmla="*/ 1477962 w 1140"/>
                <a:gd name="T51" fmla="*/ 334371 h 708"/>
                <a:gd name="T52" fmla="*/ 1450736 w 1140"/>
                <a:gd name="T53" fmla="*/ 416019 h 708"/>
                <a:gd name="T54" fmla="*/ 1439068 w 1140"/>
                <a:gd name="T55" fmla="*/ 517108 h 708"/>
                <a:gd name="T56" fmla="*/ 1419621 w 1140"/>
                <a:gd name="T57" fmla="*/ 606533 h 708"/>
                <a:gd name="T58" fmla="*/ 1357391 w 1140"/>
                <a:gd name="T59" fmla="*/ 633749 h 708"/>
                <a:gd name="T60" fmla="*/ 1267936 w 1140"/>
                <a:gd name="T61" fmla="*/ 649301 h 708"/>
                <a:gd name="T62" fmla="*/ 1256267 w 1140"/>
                <a:gd name="T63" fmla="*/ 730950 h 708"/>
                <a:gd name="T64" fmla="*/ 1139586 w 1140"/>
                <a:gd name="T65" fmla="*/ 750390 h 708"/>
                <a:gd name="T66" fmla="*/ 1108471 w 1140"/>
                <a:gd name="T67" fmla="*/ 797046 h 708"/>
                <a:gd name="T68" fmla="*/ 1050131 w 1140"/>
                <a:gd name="T69" fmla="*/ 870919 h 708"/>
                <a:gd name="T70" fmla="*/ 941228 w 1140"/>
                <a:gd name="T71" fmla="*/ 839814 h 708"/>
                <a:gd name="T72" fmla="*/ 886777 w 1140"/>
                <a:gd name="T73" fmla="*/ 785382 h 708"/>
                <a:gd name="T74" fmla="*/ 785653 w 1140"/>
                <a:gd name="T75" fmla="*/ 808710 h 708"/>
                <a:gd name="T76" fmla="*/ 610632 w 1140"/>
                <a:gd name="T77" fmla="*/ 898135 h 708"/>
                <a:gd name="T78" fmla="*/ 532844 w 1140"/>
                <a:gd name="T79" fmla="*/ 905911 h 708"/>
                <a:gd name="T80" fmla="*/ 486172 w 1140"/>
                <a:gd name="T81" fmla="*/ 917575 h 708"/>
                <a:gd name="T82" fmla="*/ 330597 w 1140"/>
                <a:gd name="T83" fmla="*/ 835926 h 708"/>
                <a:gd name="T84" fmla="*/ 38894 w 1140"/>
                <a:gd name="T85" fmla="*/ 723174 h 70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40"/>
                <a:gd name="T130" fmla="*/ 0 h 708"/>
                <a:gd name="T131" fmla="*/ 1140 w 1140"/>
                <a:gd name="T132" fmla="*/ 708 h 70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40" h="708">
                  <a:moveTo>
                    <a:pt x="0" y="537"/>
                  </a:moveTo>
                  <a:cubicBezTo>
                    <a:pt x="23" y="501"/>
                    <a:pt x="44" y="463"/>
                    <a:pt x="69" y="429"/>
                  </a:cubicBezTo>
                  <a:cubicBezTo>
                    <a:pt x="71" y="426"/>
                    <a:pt x="78" y="432"/>
                    <a:pt x="78" y="432"/>
                  </a:cubicBezTo>
                  <a:lnTo>
                    <a:pt x="108" y="417"/>
                  </a:lnTo>
                  <a:lnTo>
                    <a:pt x="117" y="390"/>
                  </a:lnTo>
                  <a:lnTo>
                    <a:pt x="96" y="354"/>
                  </a:lnTo>
                  <a:lnTo>
                    <a:pt x="135" y="258"/>
                  </a:lnTo>
                  <a:lnTo>
                    <a:pt x="183" y="252"/>
                  </a:lnTo>
                  <a:lnTo>
                    <a:pt x="204" y="216"/>
                  </a:lnTo>
                  <a:lnTo>
                    <a:pt x="198" y="198"/>
                  </a:lnTo>
                  <a:lnTo>
                    <a:pt x="225" y="171"/>
                  </a:lnTo>
                  <a:lnTo>
                    <a:pt x="243" y="156"/>
                  </a:lnTo>
                  <a:lnTo>
                    <a:pt x="267" y="198"/>
                  </a:lnTo>
                  <a:lnTo>
                    <a:pt x="288" y="234"/>
                  </a:lnTo>
                  <a:lnTo>
                    <a:pt x="297" y="273"/>
                  </a:lnTo>
                  <a:lnTo>
                    <a:pt x="309" y="303"/>
                  </a:lnTo>
                  <a:lnTo>
                    <a:pt x="348" y="306"/>
                  </a:lnTo>
                  <a:lnTo>
                    <a:pt x="393" y="288"/>
                  </a:lnTo>
                  <a:lnTo>
                    <a:pt x="378" y="261"/>
                  </a:lnTo>
                  <a:lnTo>
                    <a:pt x="387" y="243"/>
                  </a:lnTo>
                  <a:lnTo>
                    <a:pt x="378" y="219"/>
                  </a:lnTo>
                  <a:lnTo>
                    <a:pt x="375" y="159"/>
                  </a:lnTo>
                  <a:lnTo>
                    <a:pt x="423" y="168"/>
                  </a:lnTo>
                  <a:lnTo>
                    <a:pt x="489" y="153"/>
                  </a:lnTo>
                  <a:lnTo>
                    <a:pt x="492" y="129"/>
                  </a:lnTo>
                  <a:lnTo>
                    <a:pt x="501" y="102"/>
                  </a:lnTo>
                  <a:lnTo>
                    <a:pt x="528" y="93"/>
                  </a:lnTo>
                  <a:lnTo>
                    <a:pt x="558" y="96"/>
                  </a:lnTo>
                  <a:lnTo>
                    <a:pt x="603" y="78"/>
                  </a:lnTo>
                  <a:lnTo>
                    <a:pt x="633" y="48"/>
                  </a:lnTo>
                  <a:lnTo>
                    <a:pt x="666" y="36"/>
                  </a:lnTo>
                  <a:lnTo>
                    <a:pt x="672" y="15"/>
                  </a:lnTo>
                  <a:lnTo>
                    <a:pt x="693" y="0"/>
                  </a:lnTo>
                  <a:lnTo>
                    <a:pt x="735" y="24"/>
                  </a:lnTo>
                  <a:lnTo>
                    <a:pt x="762" y="39"/>
                  </a:lnTo>
                  <a:lnTo>
                    <a:pt x="756" y="63"/>
                  </a:lnTo>
                  <a:lnTo>
                    <a:pt x="774" y="69"/>
                  </a:lnTo>
                  <a:lnTo>
                    <a:pt x="786" y="54"/>
                  </a:lnTo>
                  <a:lnTo>
                    <a:pt x="810" y="72"/>
                  </a:lnTo>
                  <a:lnTo>
                    <a:pt x="822" y="39"/>
                  </a:lnTo>
                  <a:lnTo>
                    <a:pt x="858" y="39"/>
                  </a:lnTo>
                  <a:lnTo>
                    <a:pt x="888" y="24"/>
                  </a:lnTo>
                  <a:lnTo>
                    <a:pt x="900" y="72"/>
                  </a:lnTo>
                  <a:lnTo>
                    <a:pt x="915" y="90"/>
                  </a:lnTo>
                  <a:lnTo>
                    <a:pt x="948" y="90"/>
                  </a:lnTo>
                  <a:lnTo>
                    <a:pt x="999" y="102"/>
                  </a:lnTo>
                  <a:lnTo>
                    <a:pt x="1026" y="117"/>
                  </a:lnTo>
                  <a:lnTo>
                    <a:pt x="1032" y="156"/>
                  </a:lnTo>
                  <a:lnTo>
                    <a:pt x="1059" y="177"/>
                  </a:lnTo>
                  <a:lnTo>
                    <a:pt x="1104" y="225"/>
                  </a:lnTo>
                  <a:lnTo>
                    <a:pt x="1125" y="240"/>
                  </a:lnTo>
                  <a:lnTo>
                    <a:pt x="1140" y="258"/>
                  </a:lnTo>
                  <a:lnTo>
                    <a:pt x="1128" y="297"/>
                  </a:lnTo>
                  <a:lnTo>
                    <a:pt x="1119" y="321"/>
                  </a:lnTo>
                  <a:lnTo>
                    <a:pt x="1107" y="360"/>
                  </a:lnTo>
                  <a:lnTo>
                    <a:pt x="1110" y="399"/>
                  </a:lnTo>
                  <a:lnTo>
                    <a:pt x="1116" y="429"/>
                  </a:lnTo>
                  <a:lnTo>
                    <a:pt x="1095" y="468"/>
                  </a:lnTo>
                  <a:lnTo>
                    <a:pt x="1083" y="498"/>
                  </a:lnTo>
                  <a:lnTo>
                    <a:pt x="1047" y="489"/>
                  </a:lnTo>
                  <a:lnTo>
                    <a:pt x="1002" y="483"/>
                  </a:lnTo>
                  <a:lnTo>
                    <a:pt x="978" y="501"/>
                  </a:lnTo>
                  <a:lnTo>
                    <a:pt x="978" y="522"/>
                  </a:lnTo>
                  <a:lnTo>
                    <a:pt x="969" y="564"/>
                  </a:lnTo>
                  <a:lnTo>
                    <a:pt x="924" y="582"/>
                  </a:lnTo>
                  <a:lnTo>
                    <a:pt x="879" y="579"/>
                  </a:lnTo>
                  <a:lnTo>
                    <a:pt x="858" y="591"/>
                  </a:lnTo>
                  <a:lnTo>
                    <a:pt x="855" y="615"/>
                  </a:lnTo>
                  <a:lnTo>
                    <a:pt x="828" y="630"/>
                  </a:lnTo>
                  <a:lnTo>
                    <a:pt x="810" y="672"/>
                  </a:lnTo>
                  <a:lnTo>
                    <a:pt x="777" y="657"/>
                  </a:lnTo>
                  <a:lnTo>
                    <a:pt x="726" y="648"/>
                  </a:lnTo>
                  <a:lnTo>
                    <a:pt x="723" y="618"/>
                  </a:lnTo>
                  <a:lnTo>
                    <a:pt x="684" y="606"/>
                  </a:lnTo>
                  <a:lnTo>
                    <a:pt x="630" y="606"/>
                  </a:lnTo>
                  <a:lnTo>
                    <a:pt x="606" y="624"/>
                  </a:lnTo>
                  <a:lnTo>
                    <a:pt x="543" y="648"/>
                  </a:lnTo>
                  <a:lnTo>
                    <a:pt x="471" y="693"/>
                  </a:lnTo>
                  <a:lnTo>
                    <a:pt x="438" y="684"/>
                  </a:lnTo>
                  <a:lnTo>
                    <a:pt x="411" y="699"/>
                  </a:lnTo>
                  <a:lnTo>
                    <a:pt x="387" y="678"/>
                  </a:lnTo>
                  <a:lnTo>
                    <a:pt x="375" y="708"/>
                  </a:lnTo>
                  <a:lnTo>
                    <a:pt x="339" y="678"/>
                  </a:lnTo>
                  <a:lnTo>
                    <a:pt x="255" y="645"/>
                  </a:lnTo>
                  <a:lnTo>
                    <a:pt x="159" y="612"/>
                  </a:lnTo>
                  <a:lnTo>
                    <a:pt x="30" y="558"/>
                  </a:lnTo>
                  <a:lnTo>
                    <a:pt x="0" y="53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 264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21195" y="3731898"/>
              <a:ext cx="1116186" cy="591900"/>
            </a:xfrm>
            <a:custGeom>
              <a:avLst/>
              <a:gdLst>
                <a:gd name="T0" fmla="*/ 217816 w 1233"/>
                <a:gd name="T1" fmla="*/ 521079 h 654"/>
                <a:gd name="T2" fmla="*/ 210037 w 1233"/>
                <a:gd name="T3" fmla="*/ 443306 h 654"/>
                <a:gd name="T4" fmla="*/ 272270 w 1233"/>
                <a:gd name="T5" fmla="*/ 435528 h 654"/>
                <a:gd name="T6" fmla="*/ 229484 w 1233"/>
                <a:gd name="T7" fmla="*/ 291648 h 654"/>
                <a:gd name="T8" fmla="*/ 182810 w 1233"/>
                <a:gd name="T9" fmla="*/ 213876 h 654"/>
                <a:gd name="T10" fmla="*/ 116687 w 1233"/>
                <a:gd name="T11" fmla="*/ 159434 h 654"/>
                <a:gd name="T12" fmla="*/ 50564 w 1233"/>
                <a:gd name="T13" fmla="*/ 136103 h 654"/>
                <a:gd name="T14" fmla="*/ 11669 w 1233"/>
                <a:gd name="T15" fmla="*/ 143880 h 654"/>
                <a:gd name="T16" fmla="*/ 0 w 1233"/>
                <a:gd name="T17" fmla="*/ 73884 h 654"/>
                <a:gd name="T18" fmla="*/ 27227 w 1233"/>
                <a:gd name="T19" fmla="*/ 23332 h 654"/>
                <a:gd name="T20" fmla="*/ 330613 w 1233"/>
                <a:gd name="T21" fmla="*/ 143880 h 654"/>
                <a:gd name="T22" fmla="*/ 420073 w 1233"/>
                <a:gd name="T23" fmla="*/ 159434 h 654"/>
                <a:gd name="T24" fmla="*/ 482306 w 1233"/>
                <a:gd name="T25" fmla="*/ 163323 h 654"/>
                <a:gd name="T26" fmla="*/ 610662 w 1233"/>
                <a:gd name="T27" fmla="*/ 112771 h 654"/>
                <a:gd name="T28" fmla="*/ 746797 w 1233"/>
                <a:gd name="T29" fmla="*/ 58330 h 654"/>
                <a:gd name="T30" fmla="*/ 855705 w 1233"/>
                <a:gd name="T31" fmla="*/ 81662 h 654"/>
                <a:gd name="T32" fmla="*/ 894600 w 1233"/>
                <a:gd name="T33" fmla="*/ 120548 h 654"/>
                <a:gd name="T34" fmla="*/ 968502 w 1233"/>
                <a:gd name="T35" fmla="*/ 151657 h 654"/>
                <a:gd name="T36" fmla="*/ 1022956 w 1233"/>
                <a:gd name="T37" fmla="*/ 73884 h 654"/>
                <a:gd name="T38" fmla="*/ 1069631 w 1233"/>
                <a:gd name="T39" fmla="*/ 19443 h 654"/>
                <a:gd name="T40" fmla="*/ 1170759 w 1233"/>
                <a:gd name="T41" fmla="*/ 0 h 654"/>
                <a:gd name="T42" fmla="*/ 1236882 w 1233"/>
                <a:gd name="T43" fmla="*/ 73884 h 654"/>
                <a:gd name="T44" fmla="*/ 1287446 w 1233"/>
                <a:gd name="T45" fmla="*/ 147769 h 654"/>
                <a:gd name="T46" fmla="*/ 1345790 w 1233"/>
                <a:gd name="T47" fmla="*/ 132214 h 654"/>
                <a:gd name="T48" fmla="*/ 1392465 w 1233"/>
                <a:gd name="T49" fmla="*/ 178878 h 654"/>
                <a:gd name="T50" fmla="*/ 1384686 w 1233"/>
                <a:gd name="T51" fmla="*/ 256651 h 654"/>
                <a:gd name="T52" fmla="*/ 1384686 w 1233"/>
                <a:gd name="T53" fmla="*/ 322758 h 654"/>
                <a:gd name="T54" fmla="*/ 1396355 w 1233"/>
                <a:gd name="T55" fmla="*/ 412197 h 654"/>
                <a:gd name="T56" fmla="*/ 1361349 w 1233"/>
                <a:gd name="T57" fmla="*/ 521079 h 654"/>
                <a:gd name="T58" fmla="*/ 1411913 w 1233"/>
                <a:gd name="T59" fmla="*/ 633849 h 654"/>
                <a:gd name="T60" fmla="*/ 1536379 w 1233"/>
                <a:gd name="T61" fmla="*/ 727177 h 654"/>
                <a:gd name="T62" fmla="*/ 1579164 w 1233"/>
                <a:gd name="T63" fmla="*/ 785507 h 654"/>
                <a:gd name="T64" fmla="*/ 1598612 w 1233"/>
                <a:gd name="T65" fmla="*/ 847725 h 654"/>
                <a:gd name="T66" fmla="*/ 1489704 w 1233"/>
                <a:gd name="T67" fmla="*/ 773841 h 654"/>
                <a:gd name="T68" fmla="*/ 1408023 w 1233"/>
                <a:gd name="T69" fmla="*/ 746620 h 654"/>
                <a:gd name="T70" fmla="*/ 1221324 w 1233"/>
                <a:gd name="T71" fmla="*/ 762175 h 654"/>
                <a:gd name="T72" fmla="*/ 1108526 w 1233"/>
                <a:gd name="T73" fmla="*/ 797173 h 654"/>
                <a:gd name="T74" fmla="*/ 1022956 w 1233"/>
                <a:gd name="T75" fmla="*/ 847725 h 654"/>
                <a:gd name="T76" fmla="*/ 960723 w 1233"/>
                <a:gd name="T77" fmla="*/ 816616 h 654"/>
                <a:gd name="T78" fmla="*/ 999619 w 1233"/>
                <a:gd name="T79" fmla="*/ 742732 h 654"/>
                <a:gd name="T80" fmla="*/ 991839 w 1233"/>
                <a:gd name="T81" fmla="*/ 680513 h 654"/>
                <a:gd name="T82" fmla="*/ 987950 w 1233"/>
                <a:gd name="T83" fmla="*/ 618295 h 654"/>
                <a:gd name="T84" fmla="*/ 960723 w 1233"/>
                <a:gd name="T85" fmla="*/ 563854 h 654"/>
                <a:gd name="T86" fmla="*/ 898490 w 1233"/>
                <a:gd name="T87" fmla="*/ 556076 h 654"/>
                <a:gd name="T88" fmla="*/ 820699 w 1233"/>
                <a:gd name="T89" fmla="*/ 556076 h 654"/>
                <a:gd name="T90" fmla="*/ 746797 w 1233"/>
                <a:gd name="T91" fmla="*/ 513301 h 654"/>
                <a:gd name="T92" fmla="*/ 711791 w 1233"/>
                <a:gd name="T93" fmla="*/ 486081 h 654"/>
                <a:gd name="T94" fmla="*/ 633999 w 1233"/>
                <a:gd name="T95" fmla="*/ 486081 h 654"/>
                <a:gd name="T96" fmla="*/ 493975 w 1233"/>
                <a:gd name="T97" fmla="*/ 517190 h 654"/>
                <a:gd name="T98" fmla="*/ 431742 w 1233"/>
                <a:gd name="T99" fmla="*/ 556076 h 654"/>
                <a:gd name="T100" fmla="*/ 369509 w 1233"/>
                <a:gd name="T101" fmla="*/ 548299 h 654"/>
                <a:gd name="T102" fmla="*/ 307276 w 1233"/>
                <a:gd name="T103" fmla="*/ 544411 h 65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33"/>
                <a:gd name="T157" fmla="*/ 0 h 654"/>
                <a:gd name="T158" fmla="*/ 1233 w 1233"/>
                <a:gd name="T159" fmla="*/ 654 h 65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33" h="654">
                  <a:moveTo>
                    <a:pt x="198" y="432"/>
                  </a:moveTo>
                  <a:lnTo>
                    <a:pt x="168" y="402"/>
                  </a:lnTo>
                  <a:lnTo>
                    <a:pt x="147" y="381"/>
                  </a:lnTo>
                  <a:lnTo>
                    <a:pt x="162" y="342"/>
                  </a:lnTo>
                  <a:lnTo>
                    <a:pt x="207" y="366"/>
                  </a:lnTo>
                  <a:lnTo>
                    <a:pt x="210" y="336"/>
                  </a:lnTo>
                  <a:lnTo>
                    <a:pt x="180" y="261"/>
                  </a:lnTo>
                  <a:lnTo>
                    <a:pt x="177" y="225"/>
                  </a:lnTo>
                  <a:lnTo>
                    <a:pt x="156" y="201"/>
                  </a:lnTo>
                  <a:lnTo>
                    <a:pt x="141" y="165"/>
                  </a:lnTo>
                  <a:lnTo>
                    <a:pt x="126" y="138"/>
                  </a:lnTo>
                  <a:lnTo>
                    <a:pt x="90" y="123"/>
                  </a:lnTo>
                  <a:lnTo>
                    <a:pt x="66" y="123"/>
                  </a:lnTo>
                  <a:lnTo>
                    <a:pt x="39" y="105"/>
                  </a:lnTo>
                  <a:lnTo>
                    <a:pt x="24" y="129"/>
                  </a:lnTo>
                  <a:lnTo>
                    <a:pt x="9" y="111"/>
                  </a:lnTo>
                  <a:lnTo>
                    <a:pt x="6" y="87"/>
                  </a:lnTo>
                  <a:lnTo>
                    <a:pt x="0" y="57"/>
                  </a:lnTo>
                  <a:lnTo>
                    <a:pt x="21" y="39"/>
                  </a:lnTo>
                  <a:lnTo>
                    <a:pt x="21" y="18"/>
                  </a:lnTo>
                  <a:lnTo>
                    <a:pt x="114" y="57"/>
                  </a:lnTo>
                  <a:lnTo>
                    <a:pt x="255" y="111"/>
                  </a:lnTo>
                  <a:lnTo>
                    <a:pt x="312" y="147"/>
                  </a:lnTo>
                  <a:lnTo>
                    <a:pt x="324" y="123"/>
                  </a:lnTo>
                  <a:lnTo>
                    <a:pt x="351" y="135"/>
                  </a:lnTo>
                  <a:lnTo>
                    <a:pt x="372" y="126"/>
                  </a:lnTo>
                  <a:lnTo>
                    <a:pt x="399" y="132"/>
                  </a:lnTo>
                  <a:lnTo>
                    <a:pt x="471" y="87"/>
                  </a:lnTo>
                  <a:lnTo>
                    <a:pt x="540" y="63"/>
                  </a:lnTo>
                  <a:lnTo>
                    <a:pt x="576" y="45"/>
                  </a:lnTo>
                  <a:lnTo>
                    <a:pt x="639" y="51"/>
                  </a:lnTo>
                  <a:lnTo>
                    <a:pt x="660" y="63"/>
                  </a:lnTo>
                  <a:lnTo>
                    <a:pt x="660" y="87"/>
                  </a:lnTo>
                  <a:lnTo>
                    <a:pt x="690" y="93"/>
                  </a:lnTo>
                  <a:lnTo>
                    <a:pt x="714" y="96"/>
                  </a:lnTo>
                  <a:lnTo>
                    <a:pt x="747" y="117"/>
                  </a:lnTo>
                  <a:lnTo>
                    <a:pt x="765" y="66"/>
                  </a:lnTo>
                  <a:lnTo>
                    <a:pt x="789" y="57"/>
                  </a:lnTo>
                  <a:lnTo>
                    <a:pt x="795" y="27"/>
                  </a:lnTo>
                  <a:lnTo>
                    <a:pt x="825" y="15"/>
                  </a:lnTo>
                  <a:lnTo>
                    <a:pt x="864" y="24"/>
                  </a:lnTo>
                  <a:lnTo>
                    <a:pt x="903" y="0"/>
                  </a:lnTo>
                  <a:lnTo>
                    <a:pt x="939" y="15"/>
                  </a:lnTo>
                  <a:lnTo>
                    <a:pt x="954" y="57"/>
                  </a:lnTo>
                  <a:lnTo>
                    <a:pt x="960" y="96"/>
                  </a:lnTo>
                  <a:lnTo>
                    <a:pt x="993" y="114"/>
                  </a:lnTo>
                  <a:lnTo>
                    <a:pt x="1020" y="129"/>
                  </a:lnTo>
                  <a:lnTo>
                    <a:pt x="1038" y="102"/>
                  </a:lnTo>
                  <a:lnTo>
                    <a:pt x="1062" y="114"/>
                  </a:lnTo>
                  <a:lnTo>
                    <a:pt x="1074" y="138"/>
                  </a:lnTo>
                  <a:lnTo>
                    <a:pt x="1062" y="168"/>
                  </a:lnTo>
                  <a:lnTo>
                    <a:pt x="1068" y="198"/>
                  </a:lnTo>
                  <a:lnTo>
                    <a:pt x="1071" y="228"/>
                  </a:lnTo>
                  <a:lnTo>
                    <a:pt x="1068" y="249"/>
                  </a:lnTo>
                  <a:lnTo>
                    <a:pt x="1086" y="279"/>
                  </a:lnTo>
                  <a:lnTo>
                    <a:pt x="1077" y="318"/>
                  </a:lnTo>
                  <a:lnTo>
                    <a:pt x="1065" y="360"/>
                  </a:lnTo>
                  <a:lnTo>
                    <a:pt x="1050" y="402"/>
                  </a:lnTo>
                  <a:lnTo>
                    <a:pt x="1059" y="432"/>
                  </a:lnTo>
                  <a:lnTo>
                    <a:pt x="1089" y="489"/>
                  </a:lnTo>
                  <a:lnTo>
                    <a:pt x="1131" y="537"/>
                  </a:lnTo>
                  <a:lnTo>
                    <a:pt x="1185" y="561"/>
                  </a:lnTo>
                  <a:lnTo>
                    <a:pt x="1221" y="582"/>
                  </a:lnTo>
                  <a:lnTo>
                    <a:pt x="1218" y="606"/>
                  </a:lnTo>
                  <a:lnTo>
                    <a:pt x="1233" y="621"/>
                  </a:lnTo>
                  <a:lnTo>
                    <a:pt x="1233" y="654"/>
                  </a:lnTo>
                  <a:lnTo>
                    <a:pt x="1143" y="630"/>
                  </a:lnTo>
                  <a:lnTo>
                    <a:pt x="1149" y="597"/>
                  </a:lnTo>
                  <a:lnTo>
                    <a:pt x="1101" y="564"/>
                  </a:lnTo>
                  <a:lnTo>
                    <a:pt x="1086" y="576"/>
                  </a:lnTo>
                  <a:lnTo>
                    <a:pt x="1014" y="585"/>
                  </a:lnTo>
                  <a:lnTo>
                    <a:pt x="942" y="588"/>
                  </a:lnTo>
                  <a:lnTo>
                    <a:pt x="885" y="579"/>
                  </a:lnTo>
                  <a:lnTo>
                    <a:pt x="855" y="615"/>
                  </a:lnTo>
                  <a:lnTo>
                    <a:pt x="828" y="639"/>
                  </a:lnTo>
                  <a:lnTo>
                    <a:pt x="789" y="654"/>
                  </a:lnTo>
                  <a:lnTo>
                    <a:pt x="765" y="654"/>
                  </a:lnTo>
                  <a:lnTo>
                    <a:pt x="741" y="630"/>
                  </a:lnTo>
                  <a:lnTo>
                    <a:pt x="756" y="603"/>
                  </a:lnTo>
                  <a:lnTo>
                    <a:pt x="771" y="573"/>
                  </a:lnTo>
                  <a:lnTo>
                    <a:pt x="768" y="549"/>
                  </a:lnTo>
                  <a:lnTo>
                    <a:pt x="765" y="525"/>
                  </a:lnTo>
                  <a:lnTo>
                    <a:pt x="774" y="504"/>
                  </a:lnTo>
                  <a:lnTo>
                    <a:pt x="762" y="477"/>
                  </a:lnTo>
                  <a:lnTo>
                    <a:pt x="777" y="453"/>
                  </a:lnTo>
                  <a:lnTo>
                    <a:pt x="741" y="435"/>
                  </a:lnTo>
                  <a:lnTo>
                    <a:pt x="717" y="420"/>
                  </a:lnTo>
                  <a:lnTo>
                    <a:pt x="693" y="429"/>
                  </a:lnTo>
                  <a:lnTo>
                    <a:pt x="660" y="453"/>
                  </a:lnTo>
                  <a:lnTo>
                    <a:pt x="633" y="429"/>
                  </a:lnTo>
                  <a:lnTo>
                    <a:pt x="606" y="405"/>
                  </a:lnTo>
                  <a:lnTo>
                    <a:pt x="576" y="396"/>
                  </a:lnTo>
                  <a:lnTo>
                    <a:pt x="570" y="378"/>
                  </a:lnTo>
                  <a:lnTo>
                    <a:pt x="549" y="375"/>
                  </a:lnTo>
                  <a:lnTo>
                    <a:pt x="519" y="372"/>
                  </a:lnTo>
                  <a:lnTo>
                    <a:pt x="489" y="375"/>
                  </a:lnTo>
                  <a:lnTo>
                    <a:pt x="450" y="381"/>
                  </a:lnTo>
                  <a:lnTo>
                    <a:pt x="381" y="399"/>
                  </a:lnTo>
                  <a:lnTo>
                    <a:pt x="351" y="414"/>
                  </a:lnTo>
                  <a:lnTo>
                    <a:pt x="333" y="429"/>
                  </a:lnTo>
                  <a:lnTo>
                    <a:pt x="303" y="444"/>
                  </a:lnTo>
                  <a:lnTo>
                    <a:pt x="285" y="423"/>
                  </a:lnTo>
                  <a:lnTo>
                    <a:pt x="264" y="441"/>
                  </a:lnTo>
                  <a:lnTo>
                    <a:pt x="237" y="420"/>
                  </a:lnTo>
                  <a:lnTo>
                    <a:pt x="198" y="43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 265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998302" y="4242883"/>
              <a:ext cx="861248" cy="942163"/>
            </a:xfrm>
            <a:custGeom>
              <a:avLst/>
              <a:gdLst>
                <a:gd name="T0" fmla="*/ 599233 w 951"/>
                <a:gd name="T1" fmla="*/ 116661 h 1041"/>
                <a:gd name="T2" fmla="*/ 696512 w 951"/>
                <a:gd name="T3" fmla="*/ 81662 h 1041"/>
                <a:gd name="T4" fmla="*/ 797681 w 951"/>
                <a:gd name="T5" fmla="*/ 27221 h 1041"/>
                <a:gd name="T6" fmla="*/ 937761 w 951"/>
                <a:gd name="T7" fmla="*/ 23332 h 1041"/>
                <a:gd name="T8" fmla="*/ 1035040 w 951"/>
                <a:gd name="T9" fmla="*/ 0 h 1041"/>
                <a:gd name="T10" fmla="*/ 1093406 w 951"/>
                <a:gd name="T11" fmla="*/ 42776 h 1041"/>
                <a:gd name="T12" fmla="*/ 1132318 w 951"/>
                <a:gd name="T13" fmla="*/ 93329 h 1041"/>
                <a:gd name="T14" fmla="*/ 1202358 w 951"/>
                <a:gd name="T15" fmla="*/ 112772 h 1041"/>
                <a:gd name="T16" fmla="*/ 1085624 w 951"/>
                <a:gd name="T17" fmla="*/ 396646 h 1041"/>
                <a:gd name="T18" fmla="*/ 887177 w 951"/>
                <a:gd name="T19" fmla="*/ 1349375 h 1041"/>
                <a:gd name="T20" fmla="*/ 805463 w 951"/>
                <a:gd name="T21" fmla="*/ 1213271 h 1041"/>
                <a:gd name="T22" fmla="*/ 758770 w 951"/>
                <a:gd name="T23" fmla="*/ 1123831 h 1041"/>
                <a:gd name="T24" fmla="*/ 645927 w 951"/>
                <a:gd name="T25" fmla="*/ 1018836 h 1041"/>
                <a:gd name="T26" fmla="*/ 447480 w 951"/>
                <a:gd name="T27" fmla="*/ 1038280 h 1041"/>
                <a:gd name="T28" fmla="*/ 303508 w 951"/>
                <a:gd name="T29" fmla="*/ 1131608 h 1041"/>
                <a:gd name="T30" fmla="*/ 319072 w 951"/>
                <a:gd name="T31" fmla="*/ 1034391 h 1041"/>
                <a:gd name="T32" fmla="*/ 404677 w 951"/>
                <a:gd name="T33" fmla="*/ 906064 h 1041"/>
                <a:gd name="T34" fmla="*/ 361875 w 951"/>
                <a:gd name="T35" fmla="*/ 847734 h 1041"/>
                <a:gd name="T36" fmla="*/ 307399 w 951"/>
                <a:gd name="T37" fmla="*/ 855511 h 1041"/>
                <a:gd name="T38" fmla="*/ 280161 w 951"/>
                <a:gd name="T39" fmla="*/ 820513 h 1041"/>
                <a:gd name="T40" fmla="*/ 233468 w 951"/>
                <a:gd name="T41" fmla="*/ 801070 h 1041"/>
                <a:gd name="T42" fmla="*/ 214012 w 951"/>
                <a:gd name="T43" fmla="*/ 762183 h 1041"/>
                <a:gd name="T44" fmla="*/ 175101 w 951"/>
                <a:gd name="T45" fmla="*/ 727185 h 1041"/>
                <a:gd name="T46" fmla="*/ 151754 w 951"/>
                <a:gd name="T47" fmla="*/ 664966 h 1041"/>
                <a:gd name="T48" fmla="*/ 140081 w 951"/>
                <a:gd name="T49" fmla="*/ 602747 h 1041"/>
                <a:gd name="T50" fmla="*/ 105060 w 951"/>
                <a:gd name="T51" fmla="*/ 513307 h 1041"/>
                <a:gd name="T52" fmla="*/ 54476 w 951"/>
                <a:gd name="T53" fmla="*/ 412201 h 1041"/>
                <a:gd name="T54" fmla="*/ 0 w 951"/>
                <a:gd name="T55" fmla="*/ 330538 h 1041"/>
                <a:gd name="T56" fmla="*/ 89496 w 951"/>
                <a:gd name="T57" fmla="*/ 330538 h 1041"/>
                <a:gd name="T58" fmla="*/ 159536 w 951"/>
                <a:gd name="T59" fmla="*/ 381091 h 1041"/>
                <a:gd name="T60" fmla="*/ 206230 w 951"/>
                <a:gd name="T61" fmla="*/ 373314 h 1041"/>
                <a:gd name="T62" fmla="*/ 202339 w 951"/>
                <a:gd name="T63" fmla="*/ 346093 h 1041"/>
                <a:gd name="T64" fmla="*/ 155645 w 951"/>
                <a:gd name="T65" fmla="*/ 283874 h 1041"/>
                <a:gd name="T66" fmla="*/ 217903 w 951"/>
                <a:gd name="T67" fmla="*/ 237210 h 1041"/>
                <a:gd name="T68" fmla="*/ 256814 w 951"/>
                <a:gd name="T69" fmla="*/ 174991 h 1041"/>
                <a:gd name="T70" fmla="*/ 307399 w 951"/>
                <a:gd name="T71" fmla="*/ 159436 h 1041"/>
                <a:gd name="T72" fmla="*/ 408568 w 951"/>
                <a:gd name="T73" fmla="*/ 182768 h 1041"/>
                <a:gd name="T74" fmla="*/ 564213 w 951"/>
                <a:gd name="T75" fmla="*/ 229433 h 1041"/>
                <a:gd name="T76" fmla="*/ 642036 w 951"/>
                <a:gd name="T77" fmla="*/ 241099 h 1041"/>
                <a:gd name="T78" fmla="*/ 548649 w 951"/>
                <a:gd name="T79" fmla="*/ 202212 h 1041"/>
                <a:gd name="T80" fmla="*/ 494173 w 951"/>
                <a:gd name="T81" fmla="*/ 151659 h 1041"/>
                <a:gd name="T82" fmla="*/ 536975 w 951"/>
                <a:gd name="T83" fmla="*/ 108883 h 104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51"/>
                <a:gd name="T127" fmla="*/ 0 h 1041"/>
                <a:gd name="T128" fmla="*/ 951 w 951"/>
                <a:gd name="T129" fmla="*/ 1041 h 104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51" h="1041">
                  <a:moveTo>
                    <a:pt x="438" y="66"/>
                  </a:moveTo>
                  <a:lnTo>
                    <a:pt x="462" y="90"/>
                  </a:lnTo>
                  <a:lnTo>
                    <a:pt x="507" y="84"/>
                  </a:lnTo>
                  <a:lnTo>
                    <a:pt x="537" y="63"/>
                  </a:lnTo>
                  <a:lnTo>
                    <a:pt x="582" y="18"/>
                  </a:lnTo>
                  <a:lnTo>
                    <a:pt x="615" y="21"/>
                  </a:lnTo>
                  <a:lnTo>
                    <a:pt x="669" y="24"/>
                  </a:lnTo>
                  <a:lnTo>
                    <a:pt x="723" y="18"/>
                  </a:lnTo>
                  <a:lnTo>
                    <a:pt x="780" y="15"/>
                  </a:lnTo>
                  <a:lnTo>
                    <a:pt x="798" y="0"/>
                  </a:lnTo>
                  <a:lnTo>
                    <a:pt x="822" y="21"/>
                  </a:lnTo>
                  <a:lnTo>
                    <a:pt x="843" y="33"/>
                  </a:lnTo>
                  <a:lnTo>
                    <a:pt x="837" y="63"/>
                  </a:lnTo>
                  <a:lnTo>
                    <a:pt x="873" y="72"/>
                  </a:lnTo>
                  <a:lnTo>
                    <a:pt x="891" y="78"/>
                  </a:lnTo>
                  <a:lnTo>
                    <a:pt x="927" y="87"/>
                  </a:lnTo>
                  <a:lnTo>
                    <a:pt x="951" y="282"/>
                  </a:lnTo>
                  <a:lnTo>
                    <a:pt x="837" y="306"/>
                  </a:lnTo>
                  <a:lnTo>
                    <a:pt x="768" y="1026"/>
                  </a:lnTo>
                  <a:lnTo>
                    <a:pt x="684" y="1041"/>
                  </a:lnTo>
                  <a:lnTo>
                    <a:pt x="651" y="993"/>
                  </a:lnTo>
                  <a:lnTo>
                    <a:pt x="621" y="936"/>
                  </a:lnTo>
                  <a:lnTo>
                    <a:pt x="624" y="897"/>
                  </a:lnTo>
                  <a:lnTo>
                    <a:pt x="585" y="867"/>
                  </a:lnTo>
                  <a:lnTo>
                    <a:pt x="534" y="804"/>
                  </a:lnTo>
                  <a:lnTo>
                    <a:pt x="498" y="786"/>
                  </a:lnTo>
                  <a:lnTo>
                    <a:pt x="414" y="789"/>
                  </a:lnTo>
                  <a:lnTo>
                    <a:pt x="345" y="801"/>
                  </a:lnTo>
                  <a:lnTo>
                    <a:pt x="306" y="825"/>
                  </a:lnTo>
                  <a:lnTo>
                    <a:pt x="234" y="873"/>
                  </a:lnTo>
                  <a:lnTo>
                    <a:pt x="252" y="843"/>
                  </a:lnTo>
                  <a:lnTo>
                    <a:pt x="246" y="798"/>
                  </a:lnTo>
                  <a:lnTo>
                    <a:pt x="285" y="756"/>
                  </a:lnTo>
                  <a:lnTo>
                    <a:pt x="312" y="699"/>
                  </a:lnTo>
                  <a:lnTo>
                    <a:pt x="309" y="672"/>
                  </a:lnTo>
                  <a:lnTo>
                    <a:pt x="279" y="654"/>
                  </a:lnTo>
                  <a:lnTo>
                    <a:pt x="255" y="657"/>
                  </a:lnTo>
                  <a:lnTo>
                    <a:pt x="237" y="660"/>
                  </a:lnTo>
                  <a:lnTo>
                    <a:pt x="237" y="633"/>
                  </a:lnTo>
                  <a:lnTo>
                    <a:pt x="216" y="633"/>
                  </a:lnTo>
                  <a:lnTo>
                    <a:pt x="186" y="648"/>
                  </a:lnTo>
                  <a:lnTo>
                    <a:pt x="180" y="618"/>
                  </a:lnTo>
                  <a:lnTo>
                    <a:pt x="180" y="600"/>
                  </a:lnTo>
                  <a:lnTo>
                    <a:pt x="165" y="588"/>
                  </a:lnTo>
                  <a:lnTo>
                    <a:pt x="159" y="552"/>
                  </a:lnTo>
                  <a:lnTo>
                    <a:pt x="135" y="561"/>
                  </a:lnTo>
                  <a:lnTo>
                    <a:pt x="111" y="558"/>
                  </a:lnTo>
                  <a:lnTo>
                    <a:pt x="117" y="513"/>
                  </a:lnTo>
                  <a:lnTo>
                    <a:pt x="120" y="489"/>
                  </a:lnTo>
                  <a:lnTo>
                    <a:pt x="108" y="465"/>
                  </a:lnTo>
                  <a:lnTo>
                    <a:pt x="87" y="438"/>
                  </a:lnTo>
                  <a:lnTo>
                    <a:pt x="81" y="396"/>
                  </a:lnTo>
                  <a:lnTo>
                    <a:pt x="78" y="336"/>
                  </a:lnTo>
                  <a:lnTo>
                    <a:pt x="42" y="318"/>
                  </a:lnTo>
                  <a:lnTo>
                    <a:pt x="6" y="294"/>
                  </a:lnTo>
                  <a:lnTo>
                    <a:pt x="0" y="255"/>
                  </a:lnTo>
                  <a:lnTo>
                    <a:pt x="18" y="243"/>
                  </a:lnTo>
                  <a:lnTo>
                    <a:pt x="69" y="255"/>
                  </a:lnTo>
                  <a:lnTo>
                    <a:pt x="90" y="261"/>
                  </a:lnTo>
                  <a:lnTo>
                    <a:pt x="123" y="294"/>
                  </a:lnTo>
                  <a:lnTo>
                    <a:pt x="144" y="303"/>
                  </a:lnTo>
                  <a:lnTo>
                    <a:pt x="159" y="288"/>
                  </a:lnTo>
                  <a:lnTo>
                    <a:pt x="183" y="300"/>
                  </a:lnTo>
                  <a:lnTo>
                    <a:pt x="156" y="267"/>
                  </a:lnTo>
                  <a:lnTo>
                    <a:pt x="147" y="243"/>
                  </a:lnTo>
                  <a:lnTo>
                    <a:pt x="120" y="219"/>
                  </a:lnTo>
                  <a:lnTo>
                    <a:pt x="135" y="186"/>
                  </a:lnTo>
                  <a:lnTo>
                    <a:pt x="168" y="183"/>
                  </a:lnTo>
                  <a:lnTo>
                    <a:pt x="168" y="150"/>
                  </a:lnTo>
                  <a:lnTo>
                    <a:pt x="198" y="135"/>
                  </a:lnTo>
                  <a:lnTo>
                    <a:pt x="219" y="141"/>
                  </a:lnTo>
                  <a:lnTo>
                    <a:pt x="237" y="123"/>
                  </a:lnTo>
                  <a:lnTo>
                    <a:pt x="279" y="144"/>
                  </a:lnTo>
                  <a:lnTo>
                    <a:pt x="315" y="141"/>
                  </a:lnTo>
                  <a:lnTo>
                    <a:pt x="372" y="156"/>
                  </a:lnTo>
                  <a:lnTo>
                    <a:pt x="435" y="177"/>
                  </a:lnTo>
                  <a:lnTo>
                    <a:pt x="477" y="180"/>
                  </a:lnTo>
                  <a:lnTo>
                    <a:pt x="495" y="186"/>
                  </a:lnTo>
                  <a:lnTo>
                    <a:pt x="468" y="168"/>
                  </a:lnTo>
                  <a:lnTo>
                    <a:pt x="423" y="156"/>
                  </a:lnTo>
                  <a:lnTo>
                    <a:pt x="399" y="135"/>
                  </a:lnTo>
                  <a:lnTo>
                    <a:pt x="381" y="117"/>
                  </a:lnTo>
                  <a:lnTo>
                    <a:pt x="393" y="102"/>
                  </a:lnTo>
                  <a:lnTo>
                    <a:pt x="414" y="84"/>
                  </a:lnTo>
                  <a:lnTo>
                    <a:pt x="438" y="6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266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133332" y="4038933"/>
              <a:ext cx="1191560" cy="996477"/>
            </a:xfrm>
            <a:custGeom>
              <a:avLst/>
              <a:gdLst>
                <a:gd name="T0" fmla="*/ 93297 w 1317"/>
                <a:gd name="T1" fmla="*/ 400539 h 1101"/>
                <a:gd name="T2" fmla="*/ 202144 w 1317"/>
                <a:gd name="T3" fmla="*/ 276100 h 1101"/>
                <a:gd name="T4" fmla="*/ 314878 w 1317"/>
                <a:gd name="T5" fmla="*/ 237212 h 1101"/>
                <a:gd name="T6" fmla="*/ 400401 w 1317"/>
                <a:gd name="T7" fmla="*/ 194436 h 1101"/>
                <a:gd name="T8" fmla="*/ 466486 w 1317"/>
                <a:gd name="T9" fmla="*/ 7777 h 1101"/>
                <a:gd name="T10" fmla="*/ 602545 w 1317"/>
                <a:gd name="T11" fmla="*/ 58331 h 1101"/>
                <a:gd name="T12" fmla="*/ 653081 w 1317"/>
                <a:gd name="T13" fmla="*/ 108884 h 1101"/>
                <a:gd name="T14" fmla="*/ 680292 w 1317"/>
                <a:gd name="T15" fmla="*/ 174993 h 1101"/>
                <a:gd name="T16" fmla="*/ 699729 w 1317"/>
                <a:gd name="T17" fmla="*/ 221657 h 1101"/>
                <a:gd name="T18" fmla="*/ 835788 w 1317"/>
                <a:gd name="T19" fmla="*/ 260545 h 1101"/>
                <a:gd name="T20" fmla="*/ 909648 w 1317"/>
                <a:gd name="T21" fmla="*/ 268322 h 1101"/>
                <a:gd name="T22" fmla="*/ 1006833 w 1317"/>
                <a:gd name="T23" fmla="*/ 303321 h 1101"/>
                <a:gd name="T24" fmla="*/ 1139004 w 1317"/>
                <a:gd name="T25" fmla="*/ 365540 h 1101"/>
                <a:gd name="T26" fmla="*/ 1259513 w 1317"/>
                <a:gd name="T27" fmla="*/ 439426 h 1101"/>
                <a:gd name="T28" fmla="*/ 1492756 w 1317"/>
                <a:gd name="T29" fmla="*/ 447204 h 1101"/>
                <a:gd name="T30" fmla="*/ 1523855 w 1317"/>
                <a:gd name="T31" fmla="*/ 552199 h 1101"/>
                <a:gd name="T32" fmla="*/ 1519968 w 1317"/>
                <a:gd name="T33" fmla="*/ 684416 h 1101"/>
                <a:gd name="T34" fmla="*/ 1593828 w 1317"/>
                <a:gd name="T35" fmla="*/ 789412 h 1101"/>
                <a:gd name="T36" fmla="*/ 1593828 w 1317"/>
                <a:gd name="T37" fmla="*/ 929406 h 1101"/>
                <a:gd name="T38" fmla="*/ 1702675 w 1317"/>
                <a:gd name="T39" fmla="*/ 991625 h 1101"/>
                <a:gd name="T40" fmla="*/ 1701379 w 1317"/>
                <a:gd name="T41" fmla="*/ 1040883 h 1101"/>
                <a:gd name="T42" fmla="*/ 1663801 w 1317"/>
                <a:gd name="T43" fmla="*/ 1065511 h 1101"/>
                <a:gd name="T44" fmla="*/ 1659913 w 1317"/>
                <a:gd name="T45" fmla="*/ 1174396 h 1101"/>
                <a:gd name="T46" fmla="*/ 1586053 w 1317"/>
                <a:gd name="T47" fmla="*/ 1259947 h 1101"/>
                <a:gd name="T48" fmla="*/ 1403346 w 1317"/>
                <a:gd name="T49" fmla="*/ 1399942 h 1101"/>
                <a:gd name="T50" fmla="*/ 1337261 w 1317"/>
                <a:gd name="T51" fmla="*/ 1427163 h 1101"/>
                <a:gd name="T52" fmla="*/ 1372247 w 1317"/>
                <a:gd name="T53" fmla="*/ 1361055 h 1101"/>
                <a:gd name="T54" fmla="*/ 1337261 w 1317"/>
                <a:gd name="T55" fmla="*/ 1302723 h 1101"/>
                <a:gd name="T56" fmla="*/ 1267287 w 1317"/>
                <a:gd name="T57" fmla="*/ 1189950 h 1101"/>
                <a:gd name="T58" fmla="*/ 1177878 w 1317"/>
                <a:gd name="T59" fmla="*/ 1139397 h 1101"/>
                <a:gd name="T60" fmla="*/ 1057369 w 1317"/>
                <a:gd name="T61" fmla="*/ 1127731 h 1101"/>
                <a:gd name="T62" fmla="*/ 874662 w 1317"/>
                <a:gd name="T63" fmla="*/ 1100510 h 1101"/>
                <a:gd name="T64" fmla="*/ 688067 w 1317"/>
                <a:gd name="T65" fmla="*/ 1116065 h 1101"/>
                <a:gd name="T66" fmla="*/ 567558 w 1317"/>
                <a:gd name="T67" fmla="*/ 1123842 h 1101"/>
                <a:gd name="T68" fmla="*/ 419838 w 1317"/>
                <a:gd name="T69" fmla="*/ 937183 h 1101"/>
                <a:gd name="T70" fmla="*/ 318766 w 1317"/>
                <a:gd name="T71" fmla="*/ 851631 h 1101"/>
                <a:gd name="T72" fmla="*/ 0 w 1317"/>
                <a:gd name="T73" fmla="*/ 497757 h 1101"/>
                <a:gd name="T74" fmla="*/ 73860 w 1317"/>
                <a:gd name="T75" fmla="*/ 427760 h 110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17"/>
                <a:gd name="T115" fmla="*/ 0 h 1101"/>
                <a:gd name="T116" fmla="*/ 1317 w 1317"/>
                <a:gd name="T117" fmla="*/ 1101 h 110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17" h="1101">
                  <a:moveTo>
                    <a:pt x="45" y="345"/>
                  </a:moveTo>
                  <a:lnTo>
                    <a:pt x="72" y="309"/>
                  </a:lnTo>
                  <a:lnTo>
                    <a:pt x="105" y="270"/>
                  </a:lnTo>
                  <a:lnTo>
                    <a:pt x="156" y="213"/>
                  </a:lnTo>
                  <a:lnTo>
                    <a:pt x="207" y="189"/>
                  </a:lnTo>
                  <a:lnTo>
                    <a:pt x="243" y="183"/>
                  </a:lnTo>
                  <a:lnTo>
                    <a:pt x="252" y="147"/>
                  </a:lnTo>
                  <a:lnTo>
                    <a:pt x="309" y="150"/>
                  </a:lnTo>
                  <a:cubicBezTo>
                    <a:pt x="329" y="101"/>
                    <a:pt x="351" y="53"/>
                    <a:pt x="369" y="3"/>
                  </a:cubicBezTo>
                  <a:cubicBezTo>
                    <a:pt x="370" y="0"/>
                    <a:pt x="360" y="6"/>
                    <a:pt x="360" y="6"/>
                  </a:cubicBezTo>
                  <a:lnTo>
                    <a:pt x="438" y="9"/>
                  </a:lnTo>
                  <a:lnTo>
                    <a:pt x="465" y="45"/>
                  </a:lnTo>
                  <a:lnTo>
                    <a:pt x="477" y="69"/>
                  </a:lnTo>
                  <a:lnTo>
                    <a:pt x="504" y="84"/>
                  </a:lnTo>
                  <a:lnTo>
                    <a:pt x="525" y="114"/>
                  </a:lnTo>
                  <a:lnTo>
                    <a:pt x="525" y="135"/>
                  </a:lnTo>
                  <a:lnTo>
                    <a:pt x="573" y="144"/>
                  </a:lnTo>
                  <a:lnTo>
                    <a:pt x="540" y="171"/>
                  </a:lnTo>
                  <a:lnTo>
                    <a:pt x="609" y="162"/>
                  </a:lnTo>
                  <a:lnTo>
                    <a:pt x="645" y="201"/>
                  </a:lnTo>
                  <a:lnTo>
                    <a:pt x="690" y="222"/>
                  </a:lnTo>
                  <a:lnTo>
                    <a:pt x="702" y="207"/>
                  </a:lnTo>
                  <a:lnTo>
                    <a:pt x="762" y="249"/>
                  </a:lnTo>
                  <a:lnTo>
                    <a:pt x="777" y="234"/>
                  </a:lnTo>
                  <a:lnTo>
                    <a:pt x="864" y="294"/>
                  </a:lnTo>
                  <a:lnTo>
                    <a:pt x="879" y="282"/>
                  </a:lnTo>
                  <a:lnTo>
                    <a:pt x="948" y="345"/>
                  </a:lnTo>
                  <a:lnTo>
                    <a:pt x="972" y="339"/>
                  </a:lnTo>
                  <a:lnTo>
                    <a:pt x="1095" y="351"/>
                  </a:lnTo>
                  <a:lnTo>
                    <a:pt x="1152" y="345"/>
                  </a:lnTo>
                  <a:lnTo>
                    <a:pt x="1152" y="396"/>
                  </a:lnTo>
                  <a:lnTo>
                    <a:pt x="1176" y="426"/>
                  </a:lnTo>
                  <a:lnTo>
                    <a:pt x="1158" y="504"/>
                  </a:lnTo>
                  <a:lnTo>
                    <a:pt x="1173" y="528"/>
                  </a:lnTo>
                  <a:lnTo>
                    <a:pt x="1215" y="540"/>
                  </a:lnTo>
                  <a:lnTo>
                    <a:pt x="1230" y="609"/>
                  </a:lnTo>
                  <a:lnTo>
                    <a:pt x="1227" y="675"/>
                  </a:lnTo>
                  <a:lnTo>
                    <a:pt x="1230" y="717"/>
                  </a:lnTo>
                  <a:lnTo>
                    <a:pt x="1266" y="723"/>
                  </a:lnTo>
                  <a:lnTo>
                    <a:pt x="1314" y="765"/>
                  </a:lnTo>
                  <a:lnTo>
                    <a:pt x="1297" y="787"/>
                  </a:lnTo>
                  <a:lnTo>
                    <a:pt x="1313" y="803"/>
                  </a:lnTo>
                  <a:lnTo>
                    <a:pt x="1317" y="829"/>
                  </a:lnTo>
                  <a:lnTo>
                    <a:pt x="1284" y="822"/>
                  </a:lnTo>
                  <a:lnTo>
                    <a:pt x="1287" y="882"/>
                  </a:lnTo>
                  <a:lnTo>
                    <a:pt x="1281" y="906"/>
                  </a:lnTo>
                  <a:lnTo>
                    <a:pt x="1299" y="924"/>
                  </a:lnTo>
                  <a:lnTo>
                    <a:pt x="1224" y="972"/>
                  </a:lnTo>
                  <a:lnTo>
                    <a:pt x="1146" y="1032"/>
                  </a:lnTo>
                  <a:lnTo>
                    <a:pt x="1083" y="1080"/>
                  </a:lnTo>
                  <a:lnTo>
                    <a:pt x="1050" y="1098"/>
                  </a:lnTo>
                  <a:lnTo>
                    <a:pt x="1032" y="1101"/>
                  </a:lnTo>
                  <a:lnTo>
                    <a:pt x="1062" y="1092"/>
                  </a:lnTo>
                  <a:lnTo>
                    <a:pt x="1059" y="1050"/>
                  </a:lnTo>
                  <a:lnTo>
                    <a:pt x="1059" y="984"/>
                  </a:lnTo>
                  <a:lnTo>
                    <a:pt x="1032" y="1005"/>
                  </a:lnTo>
                  <a:lnTo>
                    <a:pt x="1008" y="969"/>
                  </a:lnTo>
                  <a:lnTo>
                    <a:pt x="978" y="918"/>
                  </a:lnTo>
                  <a:lnTo>
                    <a:pt x="942" y="903"/>
                  </a:lnTo>
                  <a:lnTo>
                    <a:pt x="909" y="879"/>
                  </a:lnTo>
                  <a:lnTo>
                    <a:pt x="882" y="834"/>
                  </a:lnTo>
                  <a:lnTo>
                    <a:pt x="816" y="870"/>
                  </a:lnTo>
                  <a:lnTo>
                    <a:pt x="756" y="861"/>
                  </a:lnTo>
                  <a:lnTo>
                    <a:pt x="675" y="849"/>
                  </a:lnTo>
                  <a:lnTo>
                    <a:pt x="627" y="852"/>
                  </a:lnTo>
                  <a:lnTo>
                    <a:pt x="531" y="861"/>
                  </a:lnTo>
                  <a:lnTo>
                    <a:pt x="489" y="876"/>
                  </a:lnTo>
                  <a:lnTo>
                    <a:pt x="438" y="867"/>
                  </a:lnTo>
                  <a:lnTo>
                    <a:pt x="402" y="819"/>
                  </a:lnTo>
                  <a:lnTo>
                    <a:pt x="324" y="723"/>
                  </a:lnTo>
                  <a:lnTo>
                    <a:pt x="318" y="696"/>
                  </a:lnTo>
                  <a:lnTo>
                    <a:pt x="246" y="657"/>
                  </a:lnTo>
                  <a:lnTo>
                    <a:pt x="24" y="420"/>
                  </a:lnTo>
                  <a:lnTo>
                    <a:pt x="0" y="384"/>
                  </a:lnTo>
                  <a:lnTo>
                    <a:pt x="33" y="360"/>
                  </a:lnTo>
                  <a:lnTo>
                    <a:pt x="57" y="330"/>
                  </a:lnTo>
                  <a:lnTo>
                    <a:pt x="45" y="345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267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6069953" y="4359268"/>
              <a:ext cx="678357" cy="999802"/>
            </a:xfrm>
            <a:custGeom>
              <a:avLst/>
              <a:gdLst>
                <a:gd name="T0" fmla="*/ 299237 w 750"/>
                <a:gd name="T1" fmla="*/ 19455 h 1104"/>
                <a:gd name="T2" fmla="*/ 540182 w 750"/>
                <a:gd name="T3" fmla="*/ 58367 h 1104"/>
                <a:gd name="T4" fmla="*/ 614020 w 750"/>
                <a:gd name="T5" fmla="*/ 249030 h 1104"/>
                <a:gd name="T6" fmla="*/ 687857 w 750"/>
                <a:gd name="T7" fmla="*/ 412457 h 1104"/>
                <a:gd name="T8" fmla="*/ 680085 w 750"/>
                <a:gd name="T9" fmla="*/ 536972 h 1104"/>
                <a:gd name="T10" fmla="*/ 645109 w 750"/>
                <a:gd name="T11" fmla="*/ 673160 h 1104"/>
                <a:gd name="T12" fmla="*/ 761695 w 750"/>
                <a:gd name="T13" fmla="*/ 723745 h 1104"/>
                <a:gd name="T14" fmla="*/ 819988 w 750"/>
                <a:gd name="T15" fmla="*/ 817131 h 1104"/>
                <a:gd name="T16" fmla="*/ 882167 w 750"/>
                <a:gd name="T17" fmla="*/ 867715 h 1104"/>
                <a:gd name="T18" fmla="*/ 971550 w 750"/>
                <a:gd name="T19" fmla="*/ 957211 h 1104"/>
                <a:gd name="T20" fmla="*/ 913257 w 750"/>
                <a:gd name="T21" fmla="*/ 1015577 h 1104"/>
                <a:gd name="T22" fmla="*/ 854964 w 750"/>
                <a:gd name="T23" fmla="*/ 1019468 h 1104"/>
                <a:gd name="T24" fmla="*/ 777240 w 750"/>
                <a:gd name="T25" fmla="*/ 1116746 h 1104"/>
                <a:gd name="T26" fmla="*/ 680085 w 750"/>
                <a:gd name="T27" fmla="*/ 1132310 h 1104"/>
                <a:gd name="T28" fmla="*/ 641223 w 750"/>
                <a:gd name="T29" fmla="*/ 1175112 h 1104"/>
                <a:gd name="T30" fmla="*/ 571271 w 750"/>
                <a:gd name="T31" fmla="*/ 1249043 h 1104"/>
                <a:gd name="T32" fmla="*/ 497434 w 750"/>
                <a:gd name="T33" fmla="*/ 1361885 h 1104"/>
                <a:gd name="T34" fmla="*/ 466344 w 750"/>
                <a:gd name="T35" fmla="*/ 1431925 h 1104"/>
                <a:gd name="T36" fmla="*/ 369189 w 750"/>
                <a:gd name="T37" fmla="*/ 1357994 h 1104"/>
                <a:gd name="T38" fmla="*/ 376961 w 750"/>
                <a:gd name="T39" fmla="*/ 1311301 h 1104"/>
                <a:gd name="T40" fmla="*/ 209855 w 750"/>
                <a:gd name="T41" fmla="*/ 1287954 h 1104"/>
                <a:gd name="T42" fmla="*/ 143789 w 750"/>
                <a:gd name="T43" fmla="*/ 1210132 h 1104"/>
                <a:gd name="T44" fmla="*/ 11659 w 750"/>
                <a:gd name="T45" fmla="*/ 1085617 h 1104"/>
                <a:gd name="T46" fmla="*/ 34976 w 750"/>
                <a:gd name="T47" fmla="*/ 961102 h 1104"/>
                <a:gd name="T48" fmla="*/ 194310 w 750"/>
                <a:gd name="T49" fmla="*/ 840478 h 1104"/>
                <a:gd name="T50" fmla="*/ 334213 w 750"/>
                <a:gd name="T51" fmla="*/ 747091 h 1104"/>
                <a:gd name="T52" fmla="*/ 326441 w 750"/>
                <a:gd name="T53" fmla="*/ 638140 h 1104"/>
                <a:gd name="T54" fmla="*/ 361417 w 750"/>
                <a:gd name="T55" fmla="*/ 614794 h 1104"/>
                <a:gd name="T56" fmla="*/ 338099 w 750"/>
                <a:gd name="T57" fmla="*/ 560318 h 1104"/>
                <a:gd name="T58" fmla="*/ 299237 w 750"/>
                <a:gd name="T59" fmla="*/ 478605 h 1104"/>
                <a:gd name="T60" fmla="*/ 248717 w 750"/>
                <a:gd name="T61" fmla="*/ 443585 h 1104"/>
                <a:gd name="T62" fmla="*/ 233172 w 750"/>
                <a:gd name="T63" fmla="*/ 241248 h 1104"/>
                <a:gd name="T64" fmla="*/ 155448 w 750"/>
                <a:gd name="T65" fmla="*/ 202337 h 1104"/>
                <a:gd name="T66" fmla="*/ 186538 w 750"/>
                <a:gd name="T67" fmla="*/ 89495 h 1104"/>
                <a:gd name="T68" fmla="*/ 151562 w 750"/>
                <a:gd name="T69" fmla="*/ 27238 h 110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50"/>
                <a:gd name="T106" fmla="*/ 0 h 1104"/>
                <a:gd name="T107" fmla="*/ 750 w 750"/>
                <a:gd name="T108" fmla="*/ 1104 h 110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50" h="1104">
                  <a:moveTo>
                    <a:pt x="117" y="21"/>
                  </a:moveTo>
                  <a:lnTo>
                    <a:pt x="231" y="15"/>
                  </a:lnTo>
                  <a:lnTo>
                    <a:pt x="378" y="0"/>
                  </a:lnTo>
                  <a:lnTo>
                    <a:pt x="417" y="45"/>
                  </a:lnTo>
                  <a:lnTo>
                    <a:pt x="456" y="150"/>
                  </a:lnTo>
                  <a:lnTo>
                    <a:pt x="474" y="192"/>
                  </a:lnTo>
                  <a:lnTo>
                    <a:pt x="507" y="237"/>
                  </a:lnTo>
                  <a:lnTo>
                    <a:pt x="531" y="318"/>
                  </a:lnTo>
                  <a:lnTo>
                    <a:pt x="537" y="375"/>
                  </a:lnTo>
                  <a:lnTo>
                    <a:pt x="525" y="414"/>
                  </a:lnTo>
                  <a:lnTo>
                    <a:pt x="522" y="444"/>
                  </a:lnTo>
                  <a:lnTo>
                    <a:pt x="498" y="519"/>
                  </a:lnTo>
                  <a:lnTo>
                    <a:pt x="531" y="543"/>
                  </a:lnTo>
                  <a:lnTo>
                    <a:pt x="588" y="558"/>
                  </a:lnTo>
                  <a:lnTo>
                    <a:pt x="615" y="588"/>
                  </a:lnTo>
                  <a:lnTo>
                    <a:pt x="633" y="630"/>
                  </a:lnTo>
                  <a:cubicBezTo>
                    <a:pt x="633" y="638"/>
                    <a:pt x="633" y="646"/>
                    <a:pt x="633" y="654"/>
                  </a:cubicBezTo>
                  <a:lnTo>
                    <a:pt x="681" y="669"/>
                  </a:lnTo>
                  <a:lnTo>
                    <a:pt x="717" y="705"/>
                  </a:lnTo>
                  <a:lnTo>
                    <a:pt x="750" y="738"/>
                  </a:lnTo>
                  <a:lnTo>
                    <a:pt x="726" y="756"/>
                  </a:lnTo>
                  <a:lnTo>
                    <a:pt x="705" y="783"/>
                  </a:lnTo>
                  <a:lnTo>
                    <a:pt x="678" y="768"/>
                  </a:lnTo>
                  <a:lnTo>
                    <a:pt x="660" y="786"/>
                  </a:lnTo>
                  <a:lnTo>
                    <a:pt x="630" y="840"/>
                  </a:lnTo>
                  <a:lnTo>
                    <a:pt x="600" y="861"/>
                  </a:lnTo>
                  <a:lnTo>
                    <a:pt x="561" y="855"/>
                  </a:lnTo>
                  <a:lnTo>
                    <a:pt x="525" y="873"/>
                  </a:lnTo>
                  <a:lnTo>
                    <a:pt x="510" y="888"/>
                  </a:lnTo>
                  <a:lnTo>
                    <a:pt x="495" y="906"/>
                  </a:lnTo>
                  <a:lnTo>
                    <a:pt x="459" y="927"/>
                  </a:lnTo>
                  <a:lnTo>
                    <a:pt x="441" y="963"/>
                  </a:lnTo>
                  <a:lnTo>
                    <a:pt x="417" y="987"/>
                  </a:lnTo>
                  <a:lnTo>
                    <a:pt x="384" y="1050"/>
                  </a:lnTo>
                  <a:lnTo>
                    <a:pt x="399" y="1104"/>
                  </a:lnTo>
                  <a:lnTo>
                    <a:pt x="360" y="1104"/>
                  </a:lnTo>
                  <a:lnTo>
                    <a:pt x="315" y="1080"/>
                  </a:lnTo>
                  <a:lnTo>
                    <a:pt x="285" y="1047"/>
                  </a:lnTo>
                  <a:lnTo>
                    <a:pt x="303" y="1026"/>
                  </a:lnTo>
                  <a:lnTo>
                    <a:pt x="291" y="1011"/>
                  </a:lnTo>
                  <a:lnTo>
                    <a:pt x="246" y="987"/>
                  </a:lnTo>
                  <a:lnTo>
                    <a:pt x="162" y="993"/>
                  </a:lnTo>
                  <a:lnTo>
                    <a:pt x="138" y="996"/>
                  </a:lnTo>
                  <a:lnTo>
                    <a:pt x="111" y="933"/>
                  </a:lnTo>
                  <a:lnTo>
                    <a:pt x="93" y="846"/>
                  </a:lnTo>
                  <a:lnTo>
                    <a:pt x="9" y="837"/>
                  </a:lnTo>
                  <a:lnTo>
                    <a:pt x="0" y="744"/>
                  </a:lnTo>
                  <a:lnTo>
                    <a:pt x="27" y="741"/>
                  </a:lnTo>
                  <a:lnTo>
                    <a:pt x="69" y="714"/>
                  </a:lnTo>
                  <a:lnTo>
                    <a:pt x="150" y="648"/>
                  </a:lnTo>
                  <a:lnTo>
                    <a:pt x="189" y="615"/>
                  </a:lnTo>
                  <a:lnTo>
                    <a:pt x="258" y="576"/>
                  </a:lnTo>
                  <a:lnTo>
                    <a:pt x="243" y="543"/>
                  </a:lnTo>
                  <a:lnTo>
                    <a:pt x="252" y="492"/>
                  </a:lnTo>
                  <a:lnTo>
                    <a:pt x="249" y="465"/>
                  </a:lnTo>
                  <a:lnTo>
                    <a:pt x="279" y="474"/>
                  </a:lnTo>
                  <a:lnTo>
                    <a:pt x="276" y="450"/>
                  </a:lnTo>
                  <a:lnTo>
                    <a:pt x="261" y="432"/>
                  </a:lnTo>
                  <a:lnTo>
                    <a:pt x="279" y="411"/>
                  </a:lnTo>
                  <a:lnTo>
                    <a:pt x="231" y="369"/>
                  </a:lnTo>
                  <a:lnTo>
                    <a:pt x="198" y="363"/>
                  </a:lnTo>
                  <a:lnTo>
                    <a:pt x="192" y="342"/>
                  </a:lnTo>
                  <a:lnTo>
                    <a:pt x="195" y="267"/>
                  </a:lnTo>
                  <a:lnTo>
                    <a:pt x="180" y="186"/>
                  </a:lnTo>
                  <a:lnTo>
                    <a:pt x="150" y="180"/>
                  </a:lnTo>
                  <a:lnTo>
                    <a:pt x="120" y="156"/>
                  </a:lnTo>
                  <a:lnTo>
                    <a:pt x="135" y="102"/>
                  </a:lnTo>
                  <a:lnTo>
                    <a:pt x="144" y="69"/>
                  </a:lnTo>
                  <a:lnTo>
                    <a:pt x="114" y="45"/>
                  </a:lnTo>
                  <a:lnTo>
                    <a:pt x="117" y="2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 268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624365" y="3349491"/>
              <a:ext cx="1854400" cy="1028621"/>
            </a:xfrm>
            <a:custGeom>
              <a:avLst/>
              <a:gdLst>
                <a:gd name="T0" fmla="*/ 264422 w 2049"/>
                <a:gd name="T1" fmla="*/ 878478 h 1137"/>
                <a:gd name="T2" fmla="*/ 307196 w 2049"/>
                <a:gd name="T3" fmla="*/ 789075 h 1137"/>
                <a:gd name="T4" fmla="*/ 423853 w 2049"/>
                <a:gd name="T5" fmla="*/ 742431 h 1137"/>
                <a:gd name="T6" fmla="*/ 563841 w 2049"/>
                <a:gd name="T7" fmla="*/ 711334 h 1137"/>
                <a:gd name="T8" fmla="*/ 649390 w 2049"/>
                <a:gd name="T9" fmla="*/ 633592 h 1137"/>
                <a:gd name="T10" fmla="*/ 773824 w 2049"/>
                <a:gd name="T11" fmla="*/ 462561 h 1137"/>
                <a:gd name="T12" fmla="*/ 867149 w 2049"/>
                <a:gd name="T13" fmla="*/ 342062 h 1137"/>
                <a:gd name="T14" fmla="*/ 867149 w 2049"/>
                <a:gd name="T15" fmla="*/ 252660 h 1137"/>
                <a:gd name="T16" fmla="*/ 991583 w 2049"/>
                <a:gd name="T17" fmla="*/ 252660 h 1137"/>
                <a:gd name="T18" fmla="*/ 979918 w 2049"/>
                <a:gd name="T19" fmla="*/ 373159 h 1137"/>
                <a:gd name="T20" fmla="*/ 1081020 w 2049"/>
                <a:gd name="T21" fmla="*/ 353723 h 1137"/>
                <a:gd name="T22" fmla="*/ 1131571 w 2049"/>
                <a:gd name="T23" fmla="*/ 361498 h 1137"/>
                <a:gd name="T24" fmla="*/ 1221008 w 2049"/>
                <a:gd name="T25" fmla="*/ 384820 h 1137"/>
                <a:gd name="T26" fmla="*/ 1287114 w 2049"/>
                <a:gd name="T27" fmla="*/ 334288 h 1137"/>
                <a:gd name="T28" fmla="*/ 1353220 w 2049"/>
                <a:gd name="T29" fmla="*/ 268208 h 1137"/>
                <a:gd name="T30" fmla="*/ 1481542 w 2049"/>
                <a:gd name="T31" fmla="*/ 194354 h 1137"/>
                <a:gd name="T32" fmla="*/ 1543759 w 2049"/>
                <a:gd name="T33" fmla="*/ 264321 h 1137"/>
                <a:gd name="T34" fmla="*/ 1617642 w 2049"/>
                <a:gd name="T35" fmla="*/ 202128 h 1137"/>
                <a:gd name="T36" fmla="*/ 1695413 w 2049"/>
                <a:gd name="T37" fmla="*/ 108838 h 1137"/>
                <a:gd name="T38" fmla="*/ 1691524 w 2049"/>
                <a:gd name="T39" fmla="*/ 27209 h 1137"/>
                <a:gd name="T40" fmla="*/ 1815958 w 2049"/>
                <a:gd name="T41" fmla="*/ 15548 h 1137"/>
                <a:gd name="T42" fmla="*/ 1839290 w 2049"/>
                <a:gd name="T43" fmla="*/ 108838 h 1137"/>
                <a:gd name="T44" fmla="*/ 1924838 w 2049"/>
                <a:gd name="T45" fmla="*/ 151596 h 1137"/>
                <a:gd name="T46" fmla="*/ 2025941 w 2049"/>
                <a:gd name="T47" fmla="*/ 206015 h 1137"/>
                <a:gd name="T48" fmla="*/ 2049272 w 2049"/>
                <a:gd name="T49" fmla="*/ 291530 h 1137"/>
                <a:gd name="T50" fmla="*/ 2200926 w 2049"/>
                <a:gd name="T51" fmla="*/ 206015 h 1137"/>
                <a:gd name="T52" fmla="*/ 2298140 w 2049"/>
                <a:gd name="T53" fmla="*/ 182692 h 1137"/>
                <a:gd name="T54" fmla="*/ 2337025 w 2049"/>
                <a:gd name="T55" fmla="*/ 66080 h 1137"/>
                <a:gd name="T56" fmla="*/ 2473125 w 2049"/>
                <a:gd name="T57" fmla="*/ 139935 h 1137"/>
                <a:gd name="T58" fmla="*/ 2414797 w 2049"/>
                <a:gd name="T59" fmla="*/ 237111 h 1137"/>
                <a:gd name="T60" fmla="*/ 2422574 w 2049"/>
                <a:gd name="T61" fmla="*/ 353723 h 1137"/>
                <a:gd name="T62" fmla="*/ 2445905 w 2049"/>
                <a:gd name="T63" fmla="*/ 470336 h 1137"/>
                <a:gd name="T64" fmla="*/ 2500345 w 2049"/>
                <a:gd name="T65" fmla="*/ 579174 h 1137"/>
                <a:gd name="T66" fmla="*/ 2430351 w 2049"/>
                <a:gd name="T67" fmla="*/ 641367 h 1137"/>
                <a:gd name="T68" fmla="*/ 2523676 w 2049"/>
                <a:gd name="T69" fmla="*/ 711334 h 1137"/>
                <a:gd name="T70" fmla="*/ 2512011 w 2049"/>
                <a:gd name="T71" fmla="*/ 882365 h 1137"/>
                <a:gd name="T72" fmla="*/ 2519788 w 2049"/>
                <a:gd name="T73" fmla="*/ 979542 h 1137"/>
                <a:gd name="T74" fmla="*/ 2655888 w 2049"/>
                <a:gd name="T75" fmla="*/ 1072832 h 1137"/>
                <a:gd name="T76" fmla="*/ 2535342 w 2049"/>
                <a:gd name="T77" fmla="*/ 1131138 h 1137"/>
                <a:gd name="T78" fmla="*/ 2278697 w 2049"/>
                <a:gd name="T79" fmla="*/ 1119476 h 1137"/>
                <a:gd name="T80" fmla="*/ 2033718 w 2049"/>
                <a:gd name="T81" fmla="*/ 1341040 h 1137"/>
                <a:gd name="T82" fmla="*/ 1360997 w 2049"/>
                <a:gd name="T83" fmla="*/ 1414894 h 1137"/>
                <a:gd name="T84" fmla="*/ 785490 w 2049"/>
                <a:gd name="T85" fmla="*/ 1438216 h 1137"/>
                <a:gd name="T86" fmla="*/ 552176 w 2049"/>
                <a:gd name="T87" fmla="*/ 1426555 h 1137"/>
                <a:gd name="T88" fmla="*/ 466627 w 2049"/>
                <a:gd name="T89" fmla="*/ 1376023 h 1137"/>
                <a:gd name="T90" fmla="*/ 381079 w 2049"/>
                <a:gd name="T91" fmla="*/ 1344927 h 1137"/>
                <a:gd name="T92" fmla="*/ 279976 w 2049"/>
                <a:gd name="T93" fmla="*/ 1306056 h 1137"/>
                <a:gd name="T94" fmla="*/ 136100 w 2049"/>
                <a:gd name="T95" fmla="*/ 1247750 h 1137"/>
                <a:gd name="T96" fmla="*/ 58328 w 2049"/>
                <a:gd name="T97" fmla="*/ 1166121 h 1137"/>
                <a:gd name="T98" fmla="*/ 229425 w 2049"/>
                <a:gd name="T99" fmla="*/ 944558 h 113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49"/>
                <a:gd name="T151" fmla="*/ 0 h 1137"/>
                <a:gd name="T152" fmla="*/ 2049 w 2049"/>
                <a:gd name="T153" fmla="*/ 1137 h 113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49" h="1137">
                  <a:moveTo>
                    <a:pt x="177" y="729"/>
                  </a:moveTo>
                  <a:lnTo>
                    <a:pt x="183" y="696"/>
                  </a:lnTo>
                  <a:lnTo>
                    <a:pt x="204" y="678"/>
                  </a:lnTo>
                  <a:lnTo>
                    <a:pt x="198" y="651"/>
                  </a:lnTo>
                  <a:lnTo>
                    <a:pt x="237" y="639"/>
                  </a:lnTo>
                  <a:lnTo>
                    <a:pt x="237" y="609"/>
                  </a:lnTo>
                  <a:lnTo>
                    <a:pt x="267" y="600"/>
                  </a:lnTo>
                  <a:lnTo>
                    <a:pt x="270" y="558"/>
                  </a:lnTo>
                  <a:lnTo>
                    <a:pt x="327" y="573"/>
                  </a:lnTo>
                  <a:lnTo>
                    <a:pt x="369" y="579"/>
                  </a:lnTo>
                  <a:lnTo>
                    <a:pt x="411" y="543"/>
                  </a:lnTo>
                  <a:lnTo>
                    <a:pt x="435" y="549"/>
                  </a:lnTo>
                  <a:lnTo>
                    <a:pt x="459" y="522"/>
                  </a:lnTo>
                  <a:lnTo>
                    <a:pt x="471" y="492"/>
                  </a:lnTo>
                  <a:lnTo>
                    <a:pt x="501" y="489"/>
                  </a:lnTo>
                  <a:lnTo>
                    <a:pt x="507" y="438"/>
                  </a:lnTo>
                  <a:lnTo>
                    <a:pt x="564" y="411"/>
                  </a:lnTo>
                  <a:lnTo>
                    <a:pt x="597" y="357"/>
                  </a:lnTo>
                  <a:lnTo>
                    <a:pt x="621" y="318"/>
                  </a:lnTo>
                  <a:lnTo>
                    <a:pt x="618" y="291"/>
                  </a:lnTo>
                  <a:lnTo>
                    <a:pt x="669" y="264"/>
                  </a:lnTo>
                  <a:lnTo>
                    <a:pt x="672" y="243"/>
                  </a:lnTo>
                  <a:lnTo>
                    <a:pt x="654" y="213"/>
                  </a:lnTo>
                  <a:lnTo>
                    <a:pt x="669" y="195"/>
                  </a:lnTo>
                  <a:lnTo>
                    <a:pt x="717" y="180"/>
                  </a:lnTo>
                  <a:lnTo>
                    <a:pt x="753" y="174"/>
                  </a:lnTo>
                  <a:lnTo>
                    <a:pt x="765" y="195"/>
                  </a:lnTo>
                  <a:lnTo>
                    <a:pt x="759" y="222"/>
                  </a:lnTo>
                  <a:lnTo>
                    <a:pt x="750" y="261"/>
                  </a:lnTo>
                  <a:lnTo>
                    <a:pt x="756" y="288"/>
                  </a:lnTo>
                  <a:lnTo>
                    <a:pt x="789" y="300"/>
                  </a:lnTo>
                  <a:lnTo>
                    <a:pt x="813" y="294"/>
                  </a:lnTo>
                  <a:lnTo>
                    <a:pt x="834" y="273"/>
                  </a:lnTo>
                  <a:lnTo>
                    <a:pt x="828" y="243"/>
                  </a:lnTo>
                  <a:lnTo>
                    <a:pt x="846" y="243"/>
                  </a:lnTo>
                  <a:lnTo>
                    <a:pt x="873" y="279"/>
                  </a:lnTo>
                  <a:lnTo>
                    <a:pt x="930" y="261"/>
                  </a:lnTo>
                  <a:lnTo>
                    <a:pt x="945" y="276"/>
                  </a:lnTo>
                  <a:lnTo>
                    <a:pt x="942" y="297"/>
                  </a:lnTo>
                  <a:lnTo>
                    <a:pt x="975" y="288"/>
                  </a:lnTo>
                  <a:lnTo>
                    <a:pt x="999" y="279"/>
                  </a:lnTo>
                  <a:lnTo>
                    <a:pt x="993" y="258"/>
                  </a:lnTo>
                  <a:lnTo>
                    <a:pt x="1020" y="240"/>
                  </a:lnTo>
                  <a:lnTo>
                    <a:pt x="1020" y="207"/>
                  </a:lnTo>
                  <a:lnTo>
                    <a:pt x="1044" y="207"/>
                  </a:lnTo>
                  <a:lnTo>
                    <a:pt x="1080" y="165"/>
                  </a:lnTo>
                  <a:lnTo>
                    <a:pt x="1110" y="141"/>
                  </a:lnTo>
                  <a:lnTo>
                    <a:pt x="1143" y="150"/>
                  </a:lnTo>
                  <a:lnTo>
                    <a:pt x="1146" y="201"/>
                  </a:lnTo>
                  <a:lnTo>
                    <a:pt x="1167" y="183"/>
                  </a:lnTo>
                  <a:lnTo>
                    <a:pt x="1191" y="204"/>
                  </a:lnTo>
                  <a:lnTo>
                    <a:pt x="1206" y="165"/>
                  </a:lnTo>
                  <a:lnTo>
                    <a:pt x="1224" y="177"/>
                  </a:lnTo>
                  <a:lnTo>
                    <a:pt x="1248" y="156"/>
                  </a:lnTo>
                  <a:lnTo>
                    <a:pt x="1233" y="126"/>
                  </a:lnTo>
                  <a:lnTo>
                    <a:pt x="1272" y="90"/>
                  </a:lnTo>
                  <a:lnTo>
                    <a:pt x="1308" y="84"/>
                  </a:lnTo>
                  <a:lnTo>
                    <a:pt x="1347" y="39"/>
                  </a:lnTo>
                  <a:lnTo>
                    <a:pt x="1326" y="36"/>
                  </a:lnTo>
                  <a:lnTo>
                    <a:pt x="1305" y="21"/>
                  </a:lnTo>
                  <a:lnTo>
                    <a:pt x="1326" y="0"/>
                  </a:lnTo>
                  <a:lnTo>
                    <a:pt x="1374" y="12"/>
                  </a:lnTo>
                  <a:lnTo>
                    <a:pt x="1401" y="12"/>
                  </a:lnTo>
                  <a:lnTo>
                    <a:pt x="1419" y="36"/>
                  </a:lnTo>
                  <a:lnTo>
                    <a:pt x="1413" y="66"/>
                  </a:lnTo>
                  <a:lnTo>
                    <a:pt x="1419" y="84"/>
                  </a:lnTo>
                  <a:lnTo>
                    <a:pt x="1413" y="120"/>
                  </a:lnTo>
                  <a:lnTo>
                    <a:pt x="1431" y="138"/>
                  </a:lnTo>
                  <a:lnTo>
                    <a:pt x="1485" y="117"/>
                  </a:lnTo>
                  <a:lnTo>
                    <a:pt x="1503" y="129"/>
                  </a:lnTo>
                  <a:lnTo>
                    <a:pt x="1527" y="132"/>
                  </a:lnTo>
                  <a:lnTo>
                    <a:pt x="1563" y="159"/>
                  </a:lnTo>
                  <a:lnTo>
                    <a:pt x="1584" y="180"/>
                  </a:lnTo>
                  <a:lnTo>
                    <a:pt x="1557" y="213"/>
                  </a:lnTo>
                  <a:lnTo>
                    <a:pt x="1581" y="225"/>
                  </a:lnTo>
                  <a:lnTo>
                    <a:pt x="1605" y="201"/>
                  </a:lnTo>
                  <a:lnTo>
                    <a:pt x="1647" y="180"/>
                  </a:lnTo>
                  <a:lnTo>
                    <a:pt x="1698" y="159"/>
                  </a:lnTo>
                  <a:lnTo>
                    <a:pt x="1734" y="165"/>
                  </a:lnTo>
                  <a:lnTo>
                    <a:pt x="1743" y="141"/>
                  </a:lnTo>
                  <a:cubicBezTo>
                    <a:pt x="1774" y="144"/>
                    <a:pt x="1773" y="154"/>
                    <a:pt x="1773" y="141"/>
                  </a:cubicBezTo>
                  <a:lnTo>
                    <a:pt x="1776" y="99"/>
                  </a:lnTo>
                  <a:lnTo>
                    <a:pt x="1782" y="69"/>
                  </a:lnTo>
                  <a:lnTo>
                    <a:pt x="1803" y="51"/>
                  </a:lnTo>
                  <a:lnTo>
                    <a:pt x="1833" y="78"/>
                  </a:lnTo>
                  <a:lnTo>
                    <a:pt x="1881" y="78"/>
                  </a:lnTo>
                  <a:lnTo>
                    <a:pt x="1908" y="108"/>
                  </a:lnTo>
                  <a:lnTo>
                    <a:pt x="1911" y="126"/>
                  </a:lnTo>
                  <a:lnTo>
                    <a:pt x="1887" y="159"/>
                  </a:lnTo>
                  <a:lnTo>
                    <a:pt x="1863" y="183"/>
                  </a:lnTo>
                  <a:lnTo>
                    <a:pt x="1857" y="213"/>
                  </a:lnTo>
                  <a:lnTo>
                    <a:pt x="1866" y="240"/>
                  </a:lnTo>
                  <a:lnTo>
                    <a:pt x="1869" y="273"/>
                  </a:lnTo>
                  <a:lnTo>
                    <a:pt x="1899" y="297"/>
                  </a:lnTo>
                  <a:lnTo>
                    <a:pt x="1914" y="318"/>
                  </a:lnTo>
                  <a:lnTo>
                    <a:pt x="1887" y="363"/>
                  </a:lnTo>
                  <a:lnTo>
                    <a:pt x="1914" y="381"/>
                  </a:lnTo>
                  <a:lnTo>
                    <a:pt x="1929" y="420"/>
                  </a:lnTo>
                  <a:lnTo>
                    <a:pt x="1929" y="447"/>
                  </a:lnTo>
                  <a:lnTo>
                    <a:pt x="1917" y="465"/>
                  </a:lnTo>
                  <a:lnTo>
                    <a:pt x="1884" y="474"/>
                  </a:lnTo>
                  <a:lnTo>
                    <a:pt x="1875" y="495"/>
                  </a:lnTo>
                  <a:lnTo>
                    <a:pt x="1911" y="522"/>
                  </a:lnTo>
                  <a:lnTo>
                    <a:pt x="1923" y="549"/>
                  </a:lnTo>
                  <a:lnTo>
                    <a:pt x="1947" y="549"/>
                  </a:lnTo>
                  <a:lnTo>
                    <a:pt x="1923" y="606"/>
                  </a:lnTo>
                  <a:lnTo>
                    <a:pt x="1920" y="639"/>
                  </a:lnTo>
                  <a:lnTo>
                    <a:pt x="1938" y="681"/>
                  </a:lnTo>
                  <a:lnTo>
                    <a:pt x="1908" y="699"/>
                  </a:lnTo>
                  <a:lnTo>
                    <a:pt x="1911" y="732"/>
                  </a:lnTo>
                  <a:lnTo>
                    <a:pt x="1944" y="756"/>
                  </a:lnTo>
                  <a:lnTo>
                    <a:pt x="1971" y="735"/>
                  </a:lnTo>
                  <a:lnTo>
                    <a:pt x="2004" y="738"/>
                  </a:lnTo>
                  <a:lnTo>
                    <a:pt x="2049" y="828"/>
                  </a:lnTo>
                  <a:lnTo>
                    <a:pt x="2043" y="846"/>
                  </a:lnTo>
                  <a:lnTo>
                    <a:pt x="2004" y="864"/>
                  </a:lnTo>
                  <a:lnTo>
                    <a:pt x="1956" y="873"/>
                  </a:lnTo>
                  <a:lnTo>
                    <a:pt x="1899" y="870"/>
                  </a:lnTo>
                  <a:lnTo>
                    <a:pt x="1833" y="879"/>
                  </a:lnTo>
                  <a:lnTo>
                    <a:pt x="1758" y="864"/>
                  </a:lnTo>
                  <a:lnTo>
                    <a:pt x="1710" y="891"/>
                  </a:lnTo>
                  <a:lnTo>
                    <a:pt x="1629" y="957"/>
                  </a:lnTo>
                  <a:lnTo>
                    <a:pt x="1569" y="1035"/>
                  </a:lnTo>
                  <a:lnTo>
                    <a:pt x="1533" y="1047"/>
                  </a:lnTo>
                  <a:lnTo>
                    <a:pt x="1389" y="1056"/>
                  </a:lnTo>
                  <a:cubicBezTo>
                    <a:pt x="1276" y="1068"/>
                    <a:pt x="1164" y="1092"/>
                    <a:pt x="1050" y="1092"/>
                  </a:cubicBezTo>
                  <a:lnTo>
                    <a:pt x="846" y="1119"/>
                  </a:lnTo>
                  <a:lnTo>
                    <a:pt x="609" y="1137"/>
                  </a:lnTo>
                  <a:lnTo>
                    <a:pt x="606" y="1110"/>
                  </a:lnTo>
                  <a:lnTo>
                    <a:pt x="561" y="1113"/>
                  </a:lnTo>
                  <a:lnTo>
                    <a:pt x="471" y="1107"/>
                  </a:lnTo>
                  <a:lnTo>
                    <a:pt x="426" y="1101"/>
                  </a:lnTo>
                  <a:lnTo>
                    <a:pt x="405" y="1110"/>
                  </a:lnTo>
                  <a:lnTo>
                    <a:pt x="378" y="1083"/>
                  </a:lnTo>
                  <a:lnTo>
                    <a:pt x="360" y="1062"/>
                  </a:lnTo>
                  <a:lnTo>
                    <a:pt x="336" y="1044"/>
                  </a:lnTo>
                  <a:lnTo>
                    <a:pt x="318" y="1053"/>
                  </a:lnTo>
                  <a:lnTo>
                    <a:pt x="294" y="1038"/>
                  </a:lnTo>
                  <a:lnTo>
                    <a:pt x="270" y="1023"/>
                  </a:lnTo>
                  <a:lnTo>
                    <a:pt x="237" y="999"/>
                  </a:lnTo>
                  <a:lnTo>
                    <a:pt x="216" y="1008"/>
                  </a:lnTo>
                  <a:lnTo>
                    <a:pt x="159" y="972"/>
                  </a:lnTo>
                  <a:lnTo>
                    <a:pt x="144" y="984"/>
                  </a:lnTo>
                  <a:lnTo>
                    <a:pt x="105" y="963"/>
                  </a:lnTo>
                  <a:lnTo>
                    <a:pt x="63" y="924"/>
                  </a:lnTo>
                  <a:lnTo>
                    <a:pt x="0" y="933"/>
                  </a:lnTo>
                  <a:lnTo>
                    <a:pt x="45" y="900"/>
                  </a:lnTo>
                  <a:lnTo>
                    <a:pt x="132" y="837"/>
                  </a:lnTo>
                  <a:lnTo>
                    <a:pt x="216" y="771"/>
                  </a:lnTo>
                  <a:lnTo>
                    <a:pt x="177" y="72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 269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6998815" y="3971318"/>
              <a:ext cx="1156090" cy="876766"/>
            </a:xfrm>
            <a:custGeom>
              <a:avLst/>
              <a:gdLst>
                <a:gd name="T0" fmla="*/ 660750 w 1278"/>
                <a:gd name="T1" fmla="*/ 42764 h 969"/>
                <a:gd name="T2" fmla="*/ 730712 w 1278"/>
                <a:gd name="T3" fmla="*/ 38877 h 969"/>
                <a:gd name="T4" fmla="*/ 812334 w 1278"/>
                <a:gd name="T5" fmla="*/ 19438 h 969"/>
                <a:gd name="T6" fmla="*/ 893957 w 1278"/>
                <a:gd name="T7" fmla="*/ 42764 h 969"/>
                <a:gd name="T8" fmla="*/ 1002786 w 1278"/>
                <a:gd name="T9" fmla="*/ 81641 h 969"/>
                <a:gd name="T10" fmla="*/ 1204898 w 1278"/>
                <a:gd name="T11" fmla="*/ 69978 h 969"/>
                <a:gd name="T12" fmla="*/ 1282633 w 1278"/>
                <a:gd name="T13" fmla="*/ 69978 h 969"/>
                <a:gd name="T14" fmla="*/ 1321501 w 1278"/>
                <a:gd name="T15" fmla="*/ 42764 h 969"/>
                <a:gd name="T16" fmla="*/ 1372029 w 1278"/>
                <a:gd name="T17" fmla="*/ 58315 h 969"/>
                <a:gd name="T18" fmla="*/ 1403123 w 1278"/>
                <a:gd name="T19" fmla="*/ 89416 h 969"/>
                <a:gd name="T20" fmla="*/ 1488632 w 1278"/>
                <a:gd name="T21" fmla="*/ 128293 h 969"/>
                <a:gd name="T22" fmla="*/ 1543047 w 1278"/>
                <a:gd name="T23" fmla="*/ 206046 h 969"/>
                <a:gd name="T24" fmla="*/ 1585801 w 1278"/>
                <a:gd name="T25" fmla="*/ 287686 h 969"/>
                <a:gd name="T26" fmla="*/ 1655763 w 1278"/>
                <a:gd name="T27" fmla="*/ 361552 h 969"/>
                <a:gd name="T28" fmla="*/ 1601348 w 1278"/>
                <a:gd name="T29" fmla="*/ 369327 h 969"/>
                <a:gd name="T30" fmla="*/ 1523613 w 1278"/>
                <a:gd name="T31" fmla="*/ 400428 h 969"/>
                <a:gd name="T32" fmla="*/ 1422557 w 1278"/>
                <a:gd name="T33" fmla="*/ 408204 h 969"/>
                <a:gd name="T34" fmla="*/ 1344822 w 1278"/>
                <a:gd name="T35" fmla="*/ 466518 h 969"/>
                <a:gd name="T36" fmla="*/ 1294293 w 1278"/>
                <a:gd name="T37" fmla="*/ 482069 h 969"/>
                <a:gd name="T38" fmla="*/ 1255426 w 1278"/>
                <a:gd name="T39" fmla="*/ 509283 h 969"/>
                <a:gd name="T40" fmla="*/ 1189351 w 1278"/>
                <a:gd name="T41" fmla="*/ 559822 h 969"/>
                <a:gd name="T42" fmla="*/ 1282633 w 1278"/>
                <a:gd name="T43" fmla="*/ 559822 h 969"/>
                <a:gd name="T44" fmla="*/ 1290407 w 1278"/>
                <a:gd name="T45" fmla="*/ 637575 h 969"/>
                <a:gd name="T46" fmla="*/ 1333161 w 1278"/>
                <a:gd name="T47" fmla="*/ 746430 h 969"/>
                <a:gd name="T48" fmla="*/ 1403123 w 1278"/>
                <a:gd name="T49" fmla="*/ 878610 h 969"/>
                <a:gd name="T50" fmla="*/ 1449764 w 1278"/>
                <a:gd name="T51" fmla="*/ 948587 h 969"/>
                <a:gd name="T52" fmla="*/ 1403123 w 1278"/>
                <a:gd name="T53" fmla="*/ 1003015 h 969"/>
                <a:gd name="T54" fmla="*/ 1426444 w 1278"/>
                <a:gd name="T55" fmla="*/ 1057442 h 969"/>
                <a:gd name="T56" fmla="*/ 1368142 w 1278"/>
                <a:gd name="T57" fmla="*/ 1115757 h 969"/>
                <a:gd name="T58" fmla="*/ 1391463 w 1278"/>
                <a:gd name="T59" fmla="*/ 1174071 h 969"/>
                <a:gd name="T60" fmla="*/ 1407010 w 1278"/>
                <a:gd name="T61" fmla="*/ 1236274 h 969"/>
                <a:gd name="T62" fmla="*/ 1364256 w 1278"/>
                <a:gd name="T63" fmla="*/ 1228498 h 969"/>
                <a:gd name="T64" fmla="*/ 1286520 w 1278"/>
                <a:gd name="T65" fmla="*/ 1197397 h 969"/>
                <a:gd name="T66" fmla="*/ 1235992 w 1278"/>
                <a:gd name="T67" fmla="*/ 1212948 h 969"/>
                <a:gd name="T68" fmla="*/ 1162143 w 1278"/>
                <a:gd name="T69" fmla="*/ 1162408 h 969"/>
                <a:gd name="T70" fmla="*/ 1127162 w 1278"/>
                <a:gd name="T71" fmla="*/ 1150745 h 969"/>
                <a:gd name="T72" fmla="*/ 1049427 w 1278"/>
                <a:gd name="T73" fmla="*/ 1146858 h 969"/>
                <a:gd name="T74" fmla="*/ 991126 w 1278"/>
                <a:gd name="T75" fmla="*/ 1154633 h 969"/>
                <a:gd name="T76" fmla="*/ 913390 w 1278"/>
                <a:gd name="T77" fmla="*/ 1170184 h 969"/>
                <a:gd name="T78" fmla="*/ 847315 w 1278"/>
                <a:gd name="T79" fmla="*/ 1158521 h 969"/>
                <a:gd name="T80" fmla="*/ 730712 w 1278"/>
                <a:gd name="T81" fmla="*/ 1162408 h 969"/>
                <a:gd name="T82" fmla="*/ 668524 w 1278"/>
                <a:gd name="T83" fmla="*/ 1193510 h 969"/>
                <a:gd name="T84" fmla="*/ 610222 w 1278"/>
                <a:gd name="T85" fmla="*/ 1220723 h 969"/>
                <a:gd name="T86" fmla="*/ 536374 w 1278"/>
                <a:gd name="T87" fmla="*/ 1216835 h 969"/>
                <a:gd name="T88" fmla="*/ 462525 w 1278"/>
                <a:gd name="T89" fmla="*/ 1185734 h 969"/>
                <a:gd name="T90" fmla="*/ 392564 w 1278"/>
                <a:gd name="T91" fmla="*/ 1139082 h 969"/>
                <a:gd name="T92" fmla="*/ 408111 w 1278"/>
                <a:gd name="T93" fmla="*/ 1080768 h 969"/>
                <a:gd name="T94" fmla="*/ 326488 w 1278"/>
                <a:gd name="T95" fmla="*/ 1065217 h 969"/>
                <a:gd name="T96" fmla="*/ 373130 w 1278"/>
                <a:gd name="T97" fmla="*/ 991352 h 969"/>
                <a:gd name="T98" fmla="*/ 357583 w 1278"/>
                <a:gd name="T99" fmla="*/ 913599 h 969"/>
                <a:gd name="T100" fmla="*/ 272074 w 1278"/>
                <a:gd name="T101" fmla="*/ 870834 h 969"/>
                <a:gd name="T102" fmla="*/ 217659 w 1278"/>
                <a:gd name="T103" fmla="*/ 855284 h 969"/>
                <a:gd name="T104" fmla="*/ 202112 w 1278"/>
                <a:gd name="T105" fmla="*/ 812520 h 969"/>
                <a:gd name="T106" fmla="*/ 163244 w 1278"/>
                <a:gd name="T107" fmla="*/ 758093 h 969"/>
                <a:gd name="T108" fmla="*/ 112716 w 1278"/>
                <a:gd name="T109" fmla="*/ 707553 h 969"/>
                <a:gd name="T110" fmla="*/ 38868 w 1278"/>
                <a:gd name="T111" fmla="*/ 672564 h 969"/>
                <a:gd name="T112" fmla="*/ 0 w 1278"/>
                <a:gd name="T113" fmla="*/ 555934 h 969"/>
                <a:gd name="T114" fmla="*/ 97169 w 1278"/>
                <a:gd name="T115" fmla="*/ 377102 h 969"/>
                <a:gd name="T116" fmla="*/ 225433 w 1278"/>
                <a:gd name="T117" fmla="*/ 264360 h 969"/>
                <a:gd name="T118" fmla="*/ 454752 w 1278"/>
                <a:gd name="T119" fmla="*/ 233259 h 969"/>
                <a:gd name="T120" fmla="*/ 652977 w 1278"/>
                <a:gd name="T121" fmla="*/ 237147 h 969"/>
                <a:gd name="T122" fmla="*/ 676298 w 1278"/>
                <a:gd name="T123" fmla="*/ 163281 h 969"/>
                <a:gd name="T124" fmla="*/ 621883 w 1278"/>
                <a:gd name="T125" fmla="*/ 62202 h 96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78"/>
                <a:gd name="T190" fmla="*/ 0 h 969"/>
                <a:gd name="T191" fmla="*/ 1278 w 1278"/>
                <a:gd name="T192" fmla="*/ 969 h 96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78" h="969">
                  <a:moveTo>
                    <a:pt x="480" y="48"/>
                  </a:moveTo>
                  <a:lnTo>
                    <a:pt x="510" y="33"/>
                  </a:lnTo>
                  <a:lnTo>
                    <a:pt x="546" y="9"/>
                  </a:lnTo>
                  <a:lnTo>
                    <a:pt x="564" y="30"/>
                  </a:lnTo>
                  <a:lnTo>
                    <a:pt x="582" y="0"/>
                  </a:lnTo>
                  <a:lnTo>
                    <a:pt x="627" y="15"/>
                  </a:lnTo>
                  <a:lnTo>
                    <a:pt x="648" y="21"/>
                  </a:lnTo>
                  <a:lnTo>
                    <a:pt x="690" y="33"/>
                  </a:lnTo>
                  <a:lnTo>
                    <a:pt x="708" y="18"/>
                  </a:lnTo>
                  <a:lnTo>
                    <a:pt x="774" y="63"/>
                  </a:lnTo>
                  <a:lnTo>
                    <a:pt x="846" y="21"/>
                  </a:lnTo>
                  <a:lnTo>
                    <a:pt x="930" y="54"/>
                  </a:lnTo>
                  <a:lnTo>
                    <a:pt x="954" y="48"/>
                  </a:lnTo>
                  <a:lnTo>
                    <a:pt x="990" y="54"/>
                  </a:lnTo>
                  <a:lnTo>
                    <a:pt x="1002" y="36"/>
                  </a:lnTo>
                  <a:lnTo>
                    <a:pt x="1020" y="33"/>
                  </a:lnTo>
                  <a:lnTo>
                    <a:pt x="1038" y="54"/>
                  </a:lnTo>
                  <a:lnTo>
                    <a:pt x="1059" y="45"/>
                  </a:lnTo>
                  <a:lnTo>
                    <a:pt x="1077" y="39"/>
                  </a:lnTo>
                  <a:lnTo>
                    <a:pt x="1083" y="69"/>
                  </a:lnTo>
                  <a:lnTo>
                    <a:pt x="1116" y="84"/>
                  </a:lnTo>
                  <a:lnTo>
                    <a:pt x="1149" y="99"/>
                  </a:lnTo>
                  <a:lnTo>
                    <a:pt x="1179" y="108"/>
                  </a:lnTo>
                  <a:lnTo>
                    <a:pt x="1191" y="159"/>
                  </a:lnTo>
                  <a:lnTo>
                    <a:pt x="1197" y="198"/>
                  </a:lnTo>
                  <a:lnTo>
                    <a:pt x="1224" y="222"/>
                  </a:lnTo>
                  <a:lnTo>
                    <a:pt x="1266" y="240"/>
                  </a:lnTo>
                  <a:lnTo>
                    <a:pt x="1278" y="279"/>
                  </a:lnTo>
                  <a:lnTo>
                    <a:pt x="1269" y="300"/>
                  </a:lnTo>
                  <a:lnTo>
                    <a:pt x="1236" y="285"/>
                  </a:lnTo>
                  <a:lnTo>
                    <a:pt x="1200" y="312"/>
                  </a:lnTo>
                  <a:lnTo>
                    <a:pt x="1176" y="309"/>
                  </a:lnTo>
                  <a:lnTo>
                    <a:pt x="1149" y="279"/>
                  </a:lnTo>
                  <a:lnTo>
                    <a:pt x="1098" y="315"/>
                  </a:lnTo>
                  <a:lnTo>
                    <a:pt x="1065" y="342"/>
                  </a:lnTo>
                  <a:lnTo>
                    <a:pt x="1038" y="360"/>
                  </a:lnTo>
                  <a:lnTo>
                    <a:pt x="1023" y="348"/>
                  </a:lnTo>
                  <a:lnTo>
                    <a:pt x="999" y="372"/>
                  </a:lnTo>
                  <a:lnTo>
                    <a:pt x="981" y="375"/>
                  </a:lnTo>
                  <a:lnTo>
                    <a:pt x="969" y="393"/>
                  </a:lnTo>
                  <a:lnTo>
                    <a:pt x="936" y="402"/>
                  </a:lnTo>
                  <a:lnTo>
                    <a:pt x="918" y="432"/>
                  </a:lnTo>
                  <a:lnTo>
                    <a:pt x="945" y="450"/>
                  </a:lnTo>
                  <a:lnTo>
                    <a:pt x="990" y="432"/>
                  </a:lnTo>
                  <a:lnTo>
                    <a:pt x="1005" y="450"/>
                  </a:lnTo>
                  <a:lnTo>
                    <a:pt x="996" y="492"/>
                  </a:lnTo>
                  <a:lnTo>
                    <a:pt x="1002" y="528"/>
                  </a:lnTo>
                  <a:lnTo>
                    <a:pt x="1029" y="576"/>
                  </a:lnTo>
                  <a:lnTo>
                    <a:pt x="1056" y="636"/>
                  </a:lnTo>
                  <a:lnTo>
                    <a:pt x="1083" y="678"/>
                  </a:lnTo>
                  <a:lnTo>
                    <a:pt x="1101" y="705"/>
                  </a:lnTo>
                  <a:lnTo>
                    <a:pt x="1119" y="732"/>
                  </a:lnTo>
                  <a:lnTo>
                    <a:pt x="1116" y="756"/>
                  </a:lnTo>
                  <a:lnTo>
                    <a:pt x="1083" y="774"/>
                  </a:lnTo>
                  <a:lnTo>
                    <a:pt x="1077" y="801"/>
                  </a:lnTo>
                  <a:lnTo>
                    <a:pt x="1101" y="816"/>
                  </a:lnTo>
                  <a:lnTo>
                    <a:pt x="1065" y="837"/>
                  </a:lnTo>
                  <a:lnTo>
                    <a:pt x="1056" y="861"/>
                  </a:lnTo>
                  <a:lnTo>
                    <a:pt x="1056" y="888"/>
                  </a:lnTo>
                  <a:lnTo>
                    <a:pt x="1074" y="906"/>
                  </a:lnTo>
                  <a:lnTo>
                    <a:pt x="1074" y="927"/>
                  </a:lnTo>
                  <a:lnTo>
                    <a:pt x="1086" y="954"/>
                  </a:lnTo>
                  <a:lnTo>
                    <a:pt x="1074" y="969"/>
                  </a:lnTo>
                  <a:lnTo>
                    <a:pt x="1053" y="948"/>
                  </a:lnTo>
                  <a:lnTo>
                    <a:pt x="1026" y="930"/>
                  </a:lnTo>
                  <a:lnTo>
                    <a:pt x="993" y="924"/>
                  </a:lnTo>
                  <a:lnTo>
                    <a:pt x="975" y="936"/>
                  </a:lnTo>
                  <a:lnTo>
                    <a:pt x="954" y="936"/>
                  </a:lnTo>
                  <a:lnTo>
                    <a:pt x="918" y="906"/>
                  </a:lnTo>
                  <a:lnTo>
                    <a:pt x="897" y="897"/>
                  </a:lnTo>
                  <a:lnTo>
                    <a:pt x="891" y="873"/>
                  </a:lnTo>
                  <a:lnTo>
                    <a:pt x="870" y="888"/>
                  </a:lnTo>
                  <a:lnTo>
                    <a:pt x="840" y="882"/>
                  </a:lnTo>
                  <a:lnTo>
                    <a:pt x="810" y="885"/>
                  </a:lnTo>
                  <a:lnTo>
                    <a:pt x="780" y="879"/>
                  </a:lnTo>
                  <a:lnTo>
                    <a:pt x="765" y="891"/>
                  </a:lnTo>
                  <a:lnTo>
                    <a:pt x="723" y="906"/>
                  </a:lnTo>
                  <a:lnTo>
                    <a:pt x="705" y="903"/>
                  </a:lnTo>
                  <a:lnTo>
                    <a:pt x="678" y="888"/>
                  </a:lnTo>
                  <a:lnTo>
                    <a:pt x="654" y="894"/>
                  </a:lnTo>
                  <a:lnTo>
                    <a:pt x="597" y="909"/>
                  </a:lnTo>
                  <a:lnTo>
                    <a:pt x="564" y="897"/>
                  </a:lnTo>
                  <a:lnTo>
                    <a:pt x="543" y="909"/>
                  </a:lnTo>
                  <a:lnTo>
                    <a:pt x="516" y="921"/>
                  </a:lnTo>
                  <a:lnTo>
                    <a:pt x="492" y="936"/>
                  </a:lnTo>
                  <a:lnTo>
                    <a:pt x="471" y="942"/>
                  </a:lnTo>
                  <a:lnTo>
                    <a:pt x="444" y="924"/>
                  </a:lnTo>
                  <a:lnTo>
                    <a:pt x="414" y="939"/>
                  </a:lnTo>
                  <a:lnTo>
                    <a:pt x="381" y="936"/>
                  </a:lnTo>
                  <a:lnTo>
                    <a:pt x="357" y="915"/>
                  </a:lnTo>
                  <a:lnTo>
                    <a:pt x="327" y="906"/>
                  </a:lnTo>
                  <a:lnTo>
                    <a:pt x="303" y="879"/>
                  </a:lnTo>
                  <a:lnTo>
                    <a:pt x="309" y="855"/>
                  </a:lnTo>
                  <a:lnTo>
                    <a:pt x="315" y="834"/>
                  </a:lnTo>
                  <a:lnTo>
                    <a:pt x="276" y="828"/>
                  </a:lnTo>
                  <a:lnTo>
                    <a:pt x="252" y="822"/>
                  </a:lnTo>
                  <a:lnTo>
                    <a:pt x="282" y="789"/>
                  </a:lnTo>
                  <a:lnTo>
                    <a:pt x="288" y="765"/>
                  </a:lnTo>
                  <a:lnTo>
                    <a:pt x="288" y="735"/>
                  </a:lnTo>
                  <a:lnTo>
                    <a:pt x="276" y="705"/>
                  </a:lnTo>
                  <a:lnTo>
                    <a:pt x="234" y="684"/>
                  </a:lnTo>
                  <a:lnTo>
                    <a:pt x="210" y="672"/>
                  </a:lnTo>
                  <a:lnTo>
                    <a:pt x="192" y="672"/>
                  </a:lnTo>
                  <a:lnTo>
                    <a:pt x="168" y="660"/>
                  </a:lnTo>
                  <a:lnTo>
                    <a:pt x="153" y="645"/>
                  </a:lnTo>
                  <a:lnTo>
                    <a:pt x="156" y="627"/>
                  </a:lnTo>
                  <a:lnTo>
                    <a:pt x="141" y="597"/>
                  </a:lnTo>
                  <a:lnTo>
                    <a:pt x="126" y="585"/>
                  </a:lnTo>
                  <a:lnTo>
                    <a:pt x="102" y="558"/>
                  </a:lnTo>
                  <a:lnTo>
                    <a:pt x="87" y="546"/>
                  </a:lnTo>
                  <a:lnTo>
                    <a:pt x="48" y="540"/>
                  </a:lnTo>
                  <a:lnTo>
                    <a:pt x="30" y="519"/>
                  </a:lnTo>
                  <a:lnTo>
                    <a:pt x="33" y="495"/>
                  </a:lnTo>
                  <a:lnTo>
                    <a:pt x="0" y="429"/>
                  </a:lnTo>
                  <a:lnTo>
                    <a:pt x="15" y="354"/>
                  </a:lnTo>
                  <a:lnTo>
                    <a:pt x="75" y="291"/>
                  </a:lnTo>
                  <a:lnTo>
                    <a:pt x="150" y="228"/>
                  </a:lnTo>
                  <a:lnTo>
                    <a:pt x="174" y="204"/>
                  </a:lnTo>
                  <a:lnTo>
                    <a:pt x="243" y="174"/>
                  </a:lnTo>
                  <a:lnTo>
                    <a:pt x="351" y="180"/>
                  </a:lnTo>
                  <a:lnTo>
                    <a:pt x="432" y="183"/>
                  </a:lnTo>
                  <a:lnTo>
                    <a:pt x="504" y="183"/>
                  </a:lnTo>
                  <a:lnTo>
                    <a:pt x="546" y="156"/>
                  </a:lnTo>
                  <a:lnTo>
                    <a:pt x="522" y="126"/>
                  </a:lnTo>
                  <a:lnTo>
                    <a:pt x="501" y="75"/>
                  </a:lnTo>
                  <a:lnTo>
                    <a:pt x="480" y="48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 270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12556" y="3102312"/>
              <a:ext cx="988718" cy="518744"/>
            </a:xfrm>
            <a:custGeom>
              <a:avLst/>
              <a:gdLst>
                <a:gd name="T0" fmla="*/ 132268 w 1092"/>
                <a:gd name="T1" fmla="*/ 189303 h 573"/>
                <a:gd name="T2" fmla="*/ 237305 w 1092"/>
                <a:gd name="T3" fmla="*/ 206159 h 573"/>
                <a:gd name="T4" fmla="*/ 303439 w 1092"/>
                <a:gd name="T5" fmla="*/ 163371 h 573"/>
                <a:gd name="T6" fmla="*/ 424037 w 1092"/>
                <a:gd name="T7" fmla="*/ 136143 h 573"/>
                <a:gd name="T8" fmla="*/ 490171 w 1092"/>
                <a:gd name="T9" fmla="*/ 57050 h 573"/>
                <a:gd name="T10" fmla="*/ 557602 w 1092"/>
                <a:gd name="T11" fmla="*/ 93355 h 573"/>
                <a:gd name="T12" fmla="*/ 638000 w 1092"/>
                <a:gd name="T13" fmla="*/ 132253 h 573"/>
                <a:gd name="T14" fmla="*/ 711915 w 1092"/>
                <a:gd name="T15" fmla="*/ 97245 h 573"/>
                <a:gd name="T16" fmla="*/ 770269 w 1092"/>
                <a:gd name="T17" fmla="*/ 54457 h 573"/>
                <a:gd name="T18" fmla="*/ 886976 w 1092"/>
                <a:gd name="T19" fmla="*/ 136143 h 573"/>
                <a:gd name="T20" fmla="*/ 1003684 w 1092"/>
                <a:gd name="T21" fmla="*/ 73906 h 573"/>
                <a:gd name="T22" fmla="*/ 1116501 w 1092"/>
                <a:gd name="T23" fmla="*/ 77796 h 573"/>
                <a:gd name="T24" fmla="*/ 1156700 w 1092"/>
                <a:gd name="T25" fmla="*/ 28525 h 573"/>
                <a:gd name="T26" fmla="*/ 1217647 w 1092"/>
                <a:gd name="T27" fmla="*/ 3890 h 573"/>
                <a:gd name="T28" fmla="*/ 1353806 w 1092"/>
                <a:gd name="T29" fmla="*/ 42788 h 573"/>
                <a:gd name="T30" fmla="*/ 1373257 w 1092"/>
                <a:gd name="T31" fmla="*/ 202269 h 573"/>
                <a:gd name="T32" fmla="*/ 1377148 w 1092"/>
                <a:gd name="T33" fmla="*/ 268396 h 573"/>
                <a:gd name="T34" fmla="*/ 1361587 w 1092"/>
                <a:gd name="T35" fmla="*/ 350081 h 573"/>
                <a:gd name="T36" fmla="*/ 1283781 w 1092"/>
                <a:gd name="T37" fmla="*/ 365640 h 573"/>
                <a:gd name="T38" fmla="*/ 1318794 w 1092"/>
                <a:gd name="T39" fmla="*/ 408428 h 573"/>
                <a:gd name="T40" fmla="*/ 1307123 w 1092"/>
                <a:gd name="T41" fmla="*/ 447326 h 573"/>
                <a:gd name="T42" fmla="*/ 1233208 w 1092"/>
                <a:gd name="T43" fmla="*/ 482334 h 573"/>
                <a:gd name="T44" fmla="*/ 1186525 w 1092"/>
                <a:gd name="T45" fmla="*/ 525122 h 573"/>
                <a:gd name="T46" fmla="*/ 1170964 w 1092"/>
                <a:gd name="T47" fmla="*/ 583468 h 573"/>
                <a:gd name="T48" fmla="*/ 1143732 w 1092"/>
                <a:gd name="T49" fmla="*/ 595138 h 573"/>
                <a:gd name="T50" fmla="*/ 1108720 w 1092"/>
                <a:gd name="T51" fmla="*/ 591248 h 573"/>
                <a:gd name="T52" fmla="*/ 1069818 w 1092"/>
                <a:gd name="T53" fmla="*/ 552350 h 573"/>
                <a:gd name="T54" fmla="*/ 980342 w 1092"/>
                <a:gd name="T55" fmla="*/ 575689 h 573"/>
                <a:gd name="T56" fmla="*/ 914208 w 1092"/>
                <a:gd name="T57" fmla="*/ 630146 h 573"/>
                <a:gd name="T58" fmla="*/ 875306 w 1092"/>
                <a:gd name="T59" fmla="*/ 688493 h 573"/>
                <a:gd name="T60" fmla="*/ 840293 w 1092"/>
                <a:gd name="T61" fmla="*/ 739060 h 573"/>
                <a:gd name="T62" fmla="*/ 813062 w 1092"/>
                <a:gd name="T63" fmla="*/ 707942 h 573"/>
                <a:gd name="T64" fmla="*/ 746927 w 1092"/>
                <a:gd name="T65" fmla="*/ 707942 h 573"/>
                <a:gd name="T66" fmla="*/ 692464 w 1092"/>
                <a:gd name="T67" fmla="*/ 672934 h 573"/>
                <a:gd name="T68" fmla="*/ 669123 w 1092"/>
                <a:gd name="T69" fmla="*/ 704052 h 573"/>
                <a:gd name="T70" fmla="*/ 622439 w 1092"/>
                <a:gd name="T71" fmla="*/ 739060 h 573"/>
                <a:gd name="T72" fmla="*/ 560196 w 1092"/>
                <a:gd name="T73" fmla="*/ 680713 h 573"/>
                <a:gd name="T74" fmla="*/ 583537 w 1092"/>
                <a:gd name="T75" fmla="*/ 610697 h 573"/>
                <a:gd name="T76" fmla="*/ 509622 w 1092"/>
                <a:gd name="T77" fmla="*/ 587358 h 573"/>
                <a:gd name="T78" fmla="*/ 431817 w 1092"/>
                <a:gd name="T79" fmla="*/ 622366 h 573"/>
                <a:gd name="T80" fmla="*/ 409773 w 1092"/>
                <a:gd name="T81" fmla="*/ 669044 h 573"/>
                <a:gd name="T82" fmla="*/ 299549 w 1092"/>
                <a:gd name="T83" fmla="*/ 711832 h 573"/>
                <a:gd name="T84" fmla="*/ 295659 w 1092"/>
                <a:gd name="T85" fmla="*/ 649595 h 573"/>
                <a:gd name="T86" fmla="*/ 167281 w 1092"/>
                <a:gd name="T87" fmla="*/ 602917 h 573"/>
                <a:gd name="T88" fmla="*/ 70024 w 1092"/>
                <a:gd name="T89" fmla="*/ 591248 h 573"/>
                <a:gd name="T90" fmla="*/ 23341 w 1092"/>
                <a:gd name="T91" fmla="*/ 431767 h 573"/>
                <a:gd name="T92" fmla="*/ 2593 w 1092"/>
                <a:gd name="T93" fmla="*/ 368234 h 573"/>
                <a:gd name="T94" fmla="*/ 46683 w 1092"/>
                <a:gd name="T95" fmla="*/ 330632 h 573"/>
                <a:gd name="T96" fmla="*/ 97256 w 1092"/>
                <a:gd name="T97" fmla="*/ 194490 h 57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92"/>
                <a:gd name="T148" fmla="*/ 0 h 573"/>
                <a:gd name="T149" fmla="*/ 1092 w 1092"/>
                <a:gd name="T150" fmla="*/ 573 h 57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92" h="573">
                  <a:moveTo>
                    <a:pt x="75" y="114"/>
                  </a:moveTo>
                  <a:lnTo>
                    <a:pt x="102" y="146"/>
                  </a:lnTo>
                  <a:lnTo>
                    <a:pt x="132" y="141"/>
                  </a:lnTo>
                  <a:lnTo>
                    <a:pt x="183" y="159"/>
                  </a:lnTo>
                  <a:lnTo>
                    <a:pt x="213" y="159"/>
                  </a:lnTo>
                  <a:lnTo>
                    <a:pt x="234" y="126"/>
                  </a:lnTo>
                  <a:lnTo>
                    <a:pt x="297" y="150"/>
                  </a:lnTo>
                  <a:lnTo>
                    <a:pt x="327" y="105"/>
                  </a:lnTo>
                  <a:lnTo>
                    <a:pt x="360" y="57"/>
                  </a:lnTo>
                  <a:lnTo>
                    <a:pt x="378" y="44"/>
                  </a:lnTo>
                  <a:lnTo>
                    <a:pt x="400" y="36"/>
                  </a:lnTo>
                  <a:lnTo>
                    <a:pt x="430" y="72"/>
                  </a:lnTo>
                  <a:lnTo>
                    <a:pt x="478" y="74"/>
                  </a:lnTo>
                  <a:lnTo>
                    <a:pt x="492" y="102"/>
                  </a:lnTo>
                  <a:lnTo>
                    <a:pt x="534" y="94"/>
                  </a:lnTo>
                  <a:lnTo>
                    <a:pt x="549" y="75"/>
                  </a:lnTo>
                  <a:lnTo>
                    <a:pt x="570" y="90"/>
                  </a:lnTo>
                  <a:lnTo>
                    <a:pt x="594" y="42"/>
                  </a:lnTo>
                  <a:lnTo>
                    <a:pt x="627" y="87"/>
                  </a:lnTo>
                  <a:lnTo>
                    <a:pt x="684" y="105"/>
                  </a:lnTo>
                  <a:lnTo>
                    <a:pt x="732" y="30"/>
                  </a:lnTo>
                  <a:lnTo>
                    <a:pt x="774" y="57"/>
                  </a:lnTo>
                  <a:lnTo>
                    <a:pt x="819" y="57"/>
                  </a:lnTo>
                  <a:lnTo>
                    <a:pt x="861" y="60"/>
                  </a:lnTo>
                  <a:lnTo>
                    <a:pt x="882" y="81"/>
                  </a:lnTo>
                  <a:lnTo>
                    <a:pt x="892" y="22"/>
                  </a:lnTo>
                  <a:lnTo>
                    <a:pt x="918" y="0"/>
                  </a:lnTo>
                  <a:lnTo>
                    <a:pt x="939" y="3"/>
                  </a:lnTo>
                  <a:lnTo>
                    <a:pt x="1002" y="18"/>
                  </a:lnTo>
                  <a:lnTo>
                    <a:pt x="1044" y="33"/>
                  </a:lnTo>
                  <a:lnTo>
                    <a:pt x="1059" y="132"/>
                  </a:lnTo>
                  <a:lnTo>
                    <a:pt x="1059" y="156"/>
                  </a:lnTo>
                  <a:lnTo>
                    <a:pt x="1044" y="192"/>
                  </a:lnTo>
                  <a:lnTo>
                    <a:pt x="1062" y="207"/>
                  </a:lnTo>
                  <a:lnTo>
                    <a:pt x="1092" y="225"/>
                  </a:lnTo>
                  <a:lnTo>
                    <a:pt x="1050" y="270"/>
                  </a:lnTo>
                  <a:lnTo>
                    <a:pt x="1029" y="282"/>
                  </a:lnTo>
                  <a:lnTo>
                    <a:pt x="990" y="282"/>
                  </a:lnTo>
                  <a:lnTo>
                    <a:pt x="987" y="300"/>
                  </a:lnTo>
                  <a:lnTo>
                    <a:pt x="1017" y="315"/>
                  </a:lnTo>
                  <a:lnTo>
                    <a:pt x="1035" y="312"/>
                  </a:lnTo>
                  <a:lnTo>
                    <a:pt x="1008" y="345"/>
                  </a:lnTo>
                  <a:lnTo>
                    <a:pt x="987" y="366"/>
                  </a:lnTo>
                  <a:lnTo>
                    <a:pt x="951" y="372"/>
                  </a:lnTo>
                  <a:lnTo>
                    <a:pt x="936" y="390"/>
                  </a:lnTo>
                  <a:lnTo>
                    <a:pt x="915" y="405"/>
                  </a:lnTo>
                  <a:lnTo>
                    <a:pt x="924" y="435"/>
                  </a:lnTo>
                  <a:lnTo>
                    <a:pt x="903" y="450"/>
                  </a:lnTo>
                  <a:lnTo>
                    <a:pt x="888" y="438"/>
                  </a:lnTo>
                  <a:lnTo>
                    <a:pt x="882" y="459"/>
                  </a:lnTo>
                  <a:lnTo>
                    <a:pt x="873" y="477"/>
                  </a:lnTo>
                  <a:lnTo>
                    <a:pt x="855" y="456"/>
                  </a:lnTo>
                  <a:lnTo>
                    <a:pt x="828" y="474"/>
                  </a:lnTo>
                  <a:lnTo>
                    <a:pt x="825" y="426"/>
                  </a:lnTo>
                  <a:lnTo>
                    <a:pt x="792" y="414"/>
                  </a:lnTo>
                  <a:lnTo>
                    <a:pt x="756" y="444"/>
                  </a:lnTo>
                  <a:lnTo>
                    <a:pt x="732" y="477"/>
                  </a:lnTo>
                  <a:lnTo>
                    <a:pt x="705" y="486"/>
                  </a:lnTo>
                  <a:lnTo>
                    <a:pt x="699" y="516"/>
                  </a:lnTo>
                  <a:lnTo>
                    <a:pt x="675" y="531"/>
                  </a:lnTo>
                  <a:lnTo>
                    <a:pt x="678" y="552"/>
                  </a:lnTo>
                  <a:lnTo>
                    <a:pt x="648" y="570"/>
                  </a:lnTo>
                  <a:lnTo>
                    <a:pt x="624" y="573"/>
                  </a:lnTo>
                  <a:lnTo>
                    <a:pt x="627" y="546"/>
                  </a:lnTo>
                  <a:lnTo>
                    <a:pt x="609" y="534"/>
                  </a:lnTo>
                  <a:lnTo>
                    <a:pt x="576" y="546"/>
                  </a:lnTo>
                  <a:lnTo>
                    <a:pt x="558" y="549"/>
                  </a:lnTo>
                  <a:lnTo>
                    <a:pt x="534" y="519"/>
                  </a:lnTo>
                  <a:lnTo>
                    <a:pt x="510" y="519"/>
                  </a:lnTo>
                  <a:lnTo>
                    <a:pt x="516" y="543"/>
                  </a:lnTo>
                  <a:lnTo>
                    <a:pt x="504" y="561"/>
                  </a:lnTo>
                  <a:lnTo>
                    <a:pt x="480" y="570"/>
                  </a:lnTo>
                  <a:lnTo>
                    <a:pt x="441" y="561"/>
                  </a:lnTo>
                  <a:lnTo>
                    <a:pt x="432" y="525"/>
                  </a:lnTo>
                  <a:lnTo>
                    <a:pt x="444" y="498"/>
                  </a:lnTo>
                  <a:lnTo>
                    <a:pt x="450" y="471"/>
                  </a:lnTo>
                  <a:lnTo>
                    <a:pt x="438" y="450"/>
                  </a:lnTo>
                  <a:lnTo>
                    <a:pt x="393" y="453"/>
                  </a:lnTo>
                  <a:lnTo>
                    <a:pt x="360" y="465"/>
                  </a:lnTo>
                  <a:lnTo>
                    <a:pt x="333" y="480"/>
                  </a:lnTo>
                  <a:lnTo>
                    <a:pt x="339" y="498"/>
                  </a:lnTo>
                  <a:lnTo>
                    <a:pt x="316" y="516"/>
                  </a:lnTo>
                  <a:lnTo>
                    <a:pt x="297" y="513"/>
                  </a:lnTo>
                  <a:lnTo>
                    <a:pt x="231" y="549"/>
                  </a:lnTo>
                  <a:lnTo>
                    <a:pt x="216" y="522"/>
                  </a:lnTo>
                  <a:lnTo>
                    <a:pt x="228" y="501"/>
                  </a:lnTo>
                  <a:lnTo>
                    <a:pt x="154" y="482"/>
                  </a:lnTo>
                  <a:lnTo>
                    <a:pt x="129" y="465"/>
                  </a:lnTo>
                  <a:lnTo>
                    <a:pt x="81" y="429"/>
                  </a:lnTo>
                  <a:lnTo>
                    <a:pt x="54" y="456"/>
                  </a:lnTo>
                  <a:lnTo>
                    <a:pt x="30" y="396"/>
                  </a:lnTo>
                  <a:lnTo>
                    <a:pt x="18" y="333"/>
                  </a:lnTo>
                  <a:lnTo>
                    <a:pt x="24" y="294"/>
                  </a:lnTo>
                  <a:lnTo>
                    <a:pt x="2" y="284"/>
                  </a:lnTo>
                  <a:lnTo>
                    <a:pt x="0" y="261"/>
                  </a:lnTo>
                  <a:lnTo>
                    <a:pt x="36" y="255"/>
                  </a:lnTo>
                  <a:lnTo>
                    <a:pt x="63" y="225"/>
                  </a:lnTo>
                  <a:lnTo>
                    <a:pt x="75" y="150"/>
                  </a:lnTo>
                  <a:lnTo>
                    <a:pt x="75" y="11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271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7303633" y="3138889"/>
              <a:ext cx="1227029" cy="1031947"/>
            </a:xfrm>
            <a:custGeom>
              <a:avLst/>
              <a:gdLst>
                <a:gd name="T0" fmla="*/ 448412 w 1356"/>
                <a:gd name="T1" fmla="*/ 186690 h 1140"/>
                <a:gd name="T2" fmla="*/ 470444 w 1356"/>
                <a:gd name="T3" fmla="*/ 93345 h 1140"/>
                <a:gd name="T4" fmla="*/ 548204 w 1356"/>
                <a:gd name="T5" fmla="*/ 51858 h 1140"/>
                <a:gd name="T6" fmla="*/ 590971 w 1356"/>
                <a:gd name="T7" fmla="*/ 127053 h 1140"/>
                <a:gd name="T8" fmla="*/ 662251 w 1356"/>
                <a:gd name="T9" fmla="*/ 149093 h 1140"/>
                <a:gd name="T10" fmla="*/ 771114 w 1356"/>
                <a:gd name="T11" fmla="*/ 140018 h 1140"/>
                <a:gd name="T12" fmla="*/ 864425 w 1356"/>
                <a:gd name="T13" fmla="*/ 82973 h 1140"/>
                <a:gd name="T14" fmla="*/ 926633 w 1356"/>
                <a:gd name="T15" fmla="*/ 15558 h 1140"/>
                <a:gd name="T16" fmla="*/ 1030312 w 1356"/>
                <a:gd name="T17" fmla="*/ 24633 h 1140"/>
                <a:gd name="T18" fmla="*/ 1141767 w 1356"/>
                <a:gd name="T19" fmla="*/ 98531 h 1140"/>
                <a:gd name="T20" fmla="*/ 1226006 w 1356"/>
                <a:gd name="T21" fmla="*/ 160761 h 1140"/>
                <a:gd name="T22" fmla="*/ 1312837 w 1356"/>
                <a:gd name="T23" fmla="*/ 220398 h 1140"/>
                <a:gd name="T24" fmla="*/ 1403557 w 1356"/>
                <a:gd name="T25" fmla="*/ 267070 h 1140"/>
                <a:gd name="T26" fmla="*/ 1496868 w 1356"/>
                <a:gd name="T27" fmla="*/ 260588 h 1140"/>
                <a:gd name="T28" fmla="*/ 1543524 w 1356"/>
                <a:gd name="T29" fmla="*/ 229473 h 1140"/>
                <a:gd name="T30" fmla="*/ 1614803 w 1356"/>
                <a:gd name="T31" fmla="*/ 160761 h 1140"/>
                <a:gd name="T32" fmla="*/ 1608323 w 1356"/>
                <a:gd name="T33" fmla="*/ 220398 h 1140"/>
                <a:gd name="T34" fmla="*/ 1695155 w 1356"/>
                <a:gd name="T35" fmla="*/ 269663 h 1140"/>
                <a:gd name="T36" fmla="*/ 1748290 w 1356"/>
                <a:gd name="T37" fmla="*/ 307261 h 1140"/>
                <a:gd name="T38" fmla="*/ 1677011 w 1356"/>
                <a:gd name="T39" fmla="*/ 338376 h 1140"/>
                <a:gd name="T40" fmla="*/ 1701634 w 1356"/>
                <a:gd name="T41" fmla="*/ 453761 h 1140"/>
                <a:gd name="T42" fmla="*/ 1623875 w 1356"/>
                <a:gd name="T43" fmla="*/ 538030 h 1140"/>
                <a:gd name="T44" fmla="*/ 1552596 w 1356"/>
                <a:gd name="T45" fmla="*/ 611928 h 1140"/>
                <a:gd name="T46" fmla="*/ 1605731 w 1356"/>
                <a:gd name="T47" fmla="*/ 798619 h 1140"/>
                <a:gd name="T48" fmla="*/ 1623875 w 1356"/>
                <a:gd name="T49" fmla="*/ 898446 h 1140"/>
                <a:gd name="T50" fmla="*/ 1537044 w 1356"/>
                <a:gd name="T51" fmla="*/ 1004755 h 1140"/>
                <a:gd name="T52" fmla="*/ 1450213 w 1356"/>
                <a:gd name="T53" fmla="*/ 991791 h 1140"/>
                <a:gd name="T54" fmla="*/ 1330982 w 1356"/>
                <a:gd name="T55" fmla="*/ 1031981 h 1140"/>
                <a:gd name="T56" fmla="*/ 1237670 w 1356"/>
                <a:gd name="T57" fmla="*/ 1007348 h 1140"/>
                <a:gd name="T58" fmla="*/ 1175463 w 1356"/>
                <a:gd name="T59" fmla="*/ 1026795 h 1140"/>
                <a:gd name="T60" fmla="*/ 1163799 w 1356"/>
                <a:gd name="T61" fmla="*/ 1151255 h 1140"/>
                <a:gd name="T62" fmla="*/ 1150839 w 1356"/>
                <a:gd name="T63" fmla="*/ 1312016 h 1140"/>
                <a:gd name="T64" fmla="*/ 1150839 w 1356"/>
                <a:gd name="T65" fmla="*/ 1449441 h 1140"/>
                <a:gd name="T66" fmla="*/ 1117143 w 1356"/>
                <a:gd name="T67" fmla="*/ 1442959 h 1140"/>
                <a:gd name="T68" fmla="*/ 1086039 w 1356"/>
                <a:gd name="T69" fmla="*/ 1334056 h 1140"/>
                <a:gd name="T70" fmla="*/ 1014760 w 1356"/>
                <a:gd name="T71" fmla="*/ 1306830 h 1140"/>
                <a:gd name="T72" fmla="*/ 968104 w 1356"/>
                <a:gd name="T73" fmla="*/ 1249786 h 1140"/>
                <a:gd name="T74" fmla="*/ 892937 w 1356"/>
                <a:gd name="T75" fmla="*/ 1265344 h 1140"/>
                <a:gd name="T76" fmla="*/ 852761 w 1356"/>
                <a:gd name="T77" fmla="*/ 1256268 h 1140"/>
                <a:gd name="T78" fmla="*/ 797034 w 1356"/>
                <a:gd name="T79" fmla="*/ 1253675 h 1140"/>
                <a:gd name="T80" fmla="*/ 719274 w 1356"/>
                <a:gd name="T81" fmla="*/ 1249786 h 1140"/>
                <a:gd name="T82" fmla="*/ 615595 w 1356"/>
                <a:gd name="T83" fmla="*/ 1247193 h 1140"/>
                <a:gd name="T84" fmla="*/ 519692 w 1356"/>
                <a:gd name="T85" fmla="*/ 1244600 h 1140"/>
                <a:gd name="T86" fmla="*/ 417309 w 1356"/>
                <a:gd name="T87" fmla="*/ 1234229 h 1140"/>
                <a:gd name="T88" fmla="*/ 346029 w 1356"/>
                <a:gd name="T89" fmla="*/ 1207003 h 1140"/>
                <a:gd name="T90" fmla="*/ 268270 w 1356"/>
                <a:gd name="T91" fmla="*/ 1209596 h 1140"/>
                <a:gd name="T92" fmla="*/ 195694 w 1356"/>
                <a:gd name="T93" fmla="*/ 1262751 h 1140"/>
                <a:gd name="T94" fmla="*/ 86831 w 1356"/>
                <a:gd name="T95" fmla="*/ 1262751 h 1140"/>
                <a:gd name="T96" fmla="*/ 112751 w 1356"/>
                <a:gd name="T97" fmla="*/ 1191445 h 1140"/>
                <a:gd name="T98" fmla="*/ 121823 w 1356"/>
                <a:gd name="T99" fmla="*/ 1013831 h 1140"/>
                <a:gd name="T100" fmla="*/ 50544 w 1356"/>
                <a:gd name="T101" fmla="*/ 967158 h 1140"/>
                <a:gd name="T102" fmla="*/ 84239 w 1356"/>
                <a:gd name="T103" fmla="*/ 904928 h 1140"/>
                <a:gd name="T104" fmla="*/ 86831 w 1356"/>
                <a:gd name="T105" fmla="*/ 808990 h 1140"/>
                <a:gd name="T106" fmla="*/ 66095 w 1356"/>
                <a:gd name="T107" fmla="*/ 740278 h 1140"/>
                <a:gd name="T108" fmla="*/ 31104 w 1356"/>
                <a:gd name="T109" fmla="*/ 674159 h 1140"/>
                <a:gd name="T110" fmla="*/ 3888 w 1356"/>
                <a:gd name="T111" fmla="*/ 593778 h 1140"/>
                <a:gd name="T112" fmla="*/ 22032 w 1356"/>
                <a:gd name="T113" fmla="*/ 525066 h 1140"/>
                <a:gd name="T114" fmla="*/ 146447 w 1356"/>
                <a:gd name="T115" fmla="*/ 462836 h 1140"/>
                <a:gd name="T116" fmla="*/ 242350 w 1356"/>
                <a:gd name="T117" fmla="*/ 438203 h 1140"/>
                <a:gd name="T118" fmla="*/ 230686 w 1356"/>
                <a:gd name="T119" fmla="*/ 344858 h 1140"/>
                <a:gd name="T120" fmla="*/ 149039 w 1356"/>
                <a:gd name="T121" fmla="*/ 254106 h 1140"/>
                <a:gd name="T122" fmla="*/ 137375 w 1356"/>
                <a:gd name="T123" fmla="*/ 167243 h 1140"/>
                <a:gd name="T124" fmla="*/ 202174 w 1356"/>
                <a:gd name="T125" fmla="*/ 82973 h 11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6"/>
                <a:gd name="T190" fmla="*/ 0 h 1140"/>
                <a:gd name="T191" fmla="*/ 1356 w 1356"/>
                <a:gd name="T192" fmla="*/ 1140 h 11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6" h="1140">
                  <a:moveTo>
                    <a:pt x="199" y="0"/>
                  </a:moveTo>
                  <a:lnTo>
                    <a:pt x="327" y="153"/>
                  </a:lnTo>
                  <a:lnTo>
                    <a:pt x="346" y="144"/>
                  </a:lnTo>
                  <a:lnTo>
                    <a:pt x="355" y="124"/>
                  </a:lnTo>
                  <a:lnTo>
                    <a:pt x="384" y="110"/>
                  </a:lnTo>
                  <a:lnTo>
                    <a:pt x="363" y="72"/>
                  </a:lnTo>
                  <a:lnTo>
                    <a:pt x="384" y="60"/>
                  </a:lnTo>
                  <a:lnTo>
                    <a:pt x="394" y="36"/>
                  </a:lnTo>
                  <a:lnTo>
                    <a:pt x="423" y="40"/>
                  </a:lnTo>
                  <a:lnTo>
                    <a:pt x="442" y="57"/>
                  </a:lnTo>
                  <a:lnTo>
                    <a:pt x="454" y="74"/>
                  </a:lnTo>
                  <a:lnTo>
                    <a:pt x="456" y="98"/>
                  </a:lnTo>
                  <a:lnTo>
                    <a:pt x="483" y="91"/>
                  </a:lnTo>
                  <a:lnTo>
                    <a:pt x="502" y="88"/>
                  </a:lnTo>
                  <a:lnTo>
                    <a:pt x="511" y="115"/>
                  </a:lnTo>
                  <a:lnTo>
                    <a:pt x="528" y="127"/>
                  </a:lnTo>
                  <a:lnTo>
                    <a:pt x="555" y="108"/>
                  </a:lnTo>
                  <a:lnTo>
                    <a:pt x="595" y="108"/>
                  </a:lnTo>
                  <a:lnTo>
                    <a:pt x="624" y="93"/>
                  </a:lnTo>
                  <a:lnTo>
                    <a:pt x="655" y="93"/>
                  </a:lnTo>
                  <a:lnTo>
                    <a:pt x="667" y="64"/>
                  </a:lnTo>
                  <a:lnTo>
                    <a:pt x="672" y="48"/>
                  </a:lnTo>
                  <a:lnTo>
                    <a:pt x="701" y="50"/>
                  </a:lnTo>
                  <a:lnTo>
                    <a:pt x="715" y="12"/>
                  </a:lnTo>
                  <a:lnTo>
                    <a:pt x="754" y="12"/>
                  </a:lnTo>
                  <a:lnTo>
                    <a:pt x="768" y="21"/>
                  </a:lnTo>
                  <a:lnTo>
                    <a:pt x="795" y="19"/>
                  </a:lnTo>
                  <a:lnTo>
                    <a:pt x="831" y="36"/>
                  </a:lnTo>
                  <a:lnTo>
                    <a:pt x="850" y="64"/>
                  </a:lnTo>
                  <a:lnTo>
                    <a:pt x="881" y="76"/>
                  </a:lnTo>
                  <a:lnTo>
                    <a:pt x="895" y="115"/>
                  </a:lnTo>
                  <a:lnTo>
                    <a:pt x="912" y="132"/>
                  </a:lnTo>
                  <a:lnTo>
                    <a:pt x="946" y="124"/>
                  </a:lnTo>
                  <a:lnTo>
                    <a:pt x="989" y="136"/>
                  </a:lnTo>
                  <a:lnTo>
                    <a:pt x="1008" y="146"/>
                  </a:lnTo>
                  <a:lnTo>
                    <a:pt x="1013" y="170"/>
                  </a:lnTo>
                  <a:lnTo>
                    <a:pt x="1047" y="192"/>
                  </a:lnTo>
                  <a:lnTo>
                    <a:pt x="1063" y="218"/>
                  </a:lnTo>
                  <a:lnTo>
                    <a:pt x="1083" y="206"/>
                  </a:lnTo>
                  <a:lnTo>
                    <a:pt x="1104" y="201"/>
                  </a:lnTo>
                  <a:lnTo>
                    <a:pt x="1123" y="206"/>
                  </a:lnTo>
                  <a:lnTo>
                    <a:pt x="1155" y="201"/>
                  </a:lnTo>
                  <a:lnTo>
                    <a:pt x="1167" y="213"/>
                  </a:lnTo>
                  <a:lnTo>
                    <a:pt x="1193" y="196"/>
                  </a:lnTo>
                  <a:lnTo>
                    <a:pt x="1191" y="177"/>
                  </a:lnTo>
                  <a:lnTo>
                    <a:pt x="1217" y="151"/>
                  </a:lnTo>
                  <a:lnTo>
                    <a:pt x="1229" y="117"/>
                  </a:lnTo>
                  <a:lnTo>
                    <a:pt x="1246" y="124"/>
                  </a:lnTo>
                  <a:lnTo>
                    <a:pt x="1248" y="139"/>
                  </a:lnTo>
                  <a:lnTo>
                    <a:pt x="1234" y="158"/>
                  </a:lnTo>
                  <a:lnTo>
                    <a:pt x="1241" y="170"/>
                  </a:lnTo>
                  <a:lnTo>
                    <a:pt x="1258" y="170"/>
                  </a:lnTo>
                  <a:lnTo>
                    <a:pt x="1282" y="187"/>
                  </a:lnTo>
                  <a:lnTo>
                    <a:pt x="1308" y="208"/>
                  </a:lnTo>
                  <a:lnTo>
                    <a:pt x="1347" y="208"/>
                  </a:lnTo>
                  <a:lnTo>
                    <a:pt x="1356" y="223"/>
                  </a:lnTo>
                  <a:lnTo>
                    <a:pt x="1349" y="237"/>
                  </a:lnTo>
                  <a:lnTo>
                    <a:pt x="1327" y="235"/>
                  </a:lnTo>
                  <a:lnTo>
                    <a:pt x="1306" y="242"/>
                  </a:lnTo>
                  <a:lnTo>
                    <a:pt x="1294" y="261"/>
                  </a:lnTo>
                  <a:lnTo>
                    <a:pt x="1299" y="292"/>
                  </a:lnTo>
                  <a:lnTo>
                    <a:pt x="1315" y="321"/>
                  </a:lnTo>
                  <a:lnTo>
                    <a:pt x="1313" y="350"/>
                  </a:lnTo>
                  <a:lnTo>
                    <a:pt x="1306" y="376"/>
                  </a:lnTo>
                  <a:lnTo>
                    <a:pt x="1282" y="393"/>
                  </a:lnTo>
                  <a:lnTo>
                    <a:pt x="1253" y="415"/>
                  </a:lnTo>
                  <a:lnTo>
                    <a:pt x="1217" y="424"/>
                  </a:lnTo>
                  <a:lnTo>
                    <a:pt x="1203" y="444"/>
                  </a:lnTo>
                  <a:lnTo>
                    <a:pt x="1198" y="472"/>
                  </a:lnTo>
                  <a:lnTo>
                    <a:pt x="1191" y="499"/>
                  </a:lnTo>
                  <a:lnTo>
                    <a:pt x="1203" y="549"/>
                  </a:lnTo>
                  <a:cubicBezTo>
                    <a:pt x="1218" y="578"/>
                    <a:pt x="1223" y="595"/>
                    <a:pt x="1239" y="616"/>
                  </a:cubicBezTo>
                  <a:lnTo>
                    <a:pt x="1253" y="638"/>
                  </a:lnTo>
                  <a:lnTo>
                    <a:pt x="1258" y="667"/>
                  </a:lnTo>
                  <a:lnTo>
                    <a:pt x="1253" y="693"/>
                  </a:lnTo>
                  <a:lnTo>
                    <a:pt x="1255" y="717"/>
                  </a:lnTo>
                  <a:lnTo>
                    <a:pt x="1222" y="727"/>
                  </a:lnTo>
                  <a:lnTo>
                    <a:pt x="1186" y="775"/>
                  </a:lnTo>
                  <a:lnTo>
                    <a:pt x="1164" y="794"/>
                  </a:lnTo>
                  <a:lnTo>
                    <a:pt x="1143" y="765"/>
                  </a:lnTo>
                  <a:lnTo>
                    <a:pt x="1119" y="765"/>
                  </a:lnTo>
                  <a:lnTo>
                    <a:pt x="1090" y="775"/>
                  </a:lnTo>
                  <a:lnTo>
                    <a:pt x="1054" y="784"/>
                  </a:lnTo>
                  <a:lnTo>
                    <a:pt x="1027" y="796"/>
                  </a:lnTo>
                  <a:lnTo>
                    <a:pt x="994" y="792"/>
                  </a:lnTo>
                  <a:lnTo>
                    <a:pt x="975" y="787"/>
                  </a:lnTo>
                  <a:lnTo>
                    <a:pt x="955" y="777"/>
                  </a:lnTo>
                  <a:lnTo>
                    <a:pt x="929" y="780"/>
                  </a:lnTo>
                  <a:lnTo>
                    <a:pt x="912" y="768"/>
                  </a:lnTo>
                  <a:lnTo>
                    <a:pt x="907" y="792"/>
                  </a:lnTo>
                  <a:lnTo>
                    <a:pt x="900" y="820"/>
                  </a:lnTo>
                  <a:lnTo>
                    <a:pt x="907" y="847"/>
                  </a:lnTo>
                  <a:lnTo>
                    <a:pt x="898" y="888"/>
                  </a:lnTo>
                  <a:lnTo>
                    <a:pt x="903" y="926"/>
                  </a:lnTo>
                  <a:lnTo>
                    <a:pt x="895" y="967"/>
                  </a:lnTo>
                  <a:lnTo>
                    <a:pt x="888" y="1012"/>
                  </a:lnTo>
                  <a:lnTo>
                    <a:pt x="898" y="1053"/>
                  </a:lnTo>
                  <a:lnTo>
                    <a:pt x="886" y="1084"/>
                  </a:lnTo>
                  <a:lnTo>
                    <a:pt x="888" y="1118"/>
                  </a:lnTo>
                  <a:lnTo>
                    <a:pt x="886" y="1140"/>
                  </a:lnTo>
                  <a:lnTo>
                    <a:pt x="871" y="1135"/>
                  </a:lnTo>
                  <a:lnTo>
                    <a:pt x="862" y="1113"/>
                  </a:lnTo>
                  <a:lnTo>
                    <a:pt x="845" y="1092"/>
                  </a:lnTo>
                  <a:lnTo>
                    <a:pt x="843" y="1072"/>
                  </a:lnTo>
                  <a:lnTo>
                    <a:pt x="838" y="1029"/>
                  </a:lnTo>
                  <a:lnTo>
                    <a:pt x="811" y="1029"/>
                  </a:lnTo>
                  <a:lnTo>
                    <a:pt x="797" y="1010"/>
                  </a:lnTo>
                  <a:lnTo>
                    <a:pt x="783" y="1008"/>
                  </a:lnTo>
                  <a:lnTo>
                    <a:pt x="768" y="1003"/>
                  </a:lnTo>
                  <a:lnTo>
                    <a:pt x="744" y="988"/>
                  </a:lnTo>
                  <a:lnTo>
                    <a:pt x="747" y="964"/>
                  </a:lnTo>
                  <a:lnTo>
                    <a:pt x="730" y="962"/>
                  </a:lnTo>
                  <a:lnTo>
                    <a:pt x="703" y="976"/>
                  </a:lnTo>
                  <a:lnTo>
                    <a:pt x="689" y="976"/>
                  </a:lnTo>
                  <a:lnTo>
                    <a:pt x="691" y="962"/>
                  </a:lnTo>
                  <a:lnTo>
                    <a:pt x="675" y="957"/>
                  </a:lnTo>
                  <a:lnTo>
                    <a:pt x="658" y="969"/>
                  </a:lnTo>
                  <a:lnTo>
                    <a:pt x="651" y="981"/>
                  </a:lnTo>
                  <a:lnTo>
                    <a:pt x="634" y="974"/>
                  </a:lnTo>
                  <a:lnTo>
                    <a:pt x="615" y="967"/>
                  </a:lnTo>
                  <a:lnTo>
                    <a:pt x="600" y="974"/>
                  </a:lnTo>
                  <a:lnTo>
                    <a:pt x="586" y="974"/>
                  </a:lnTo>
                  <a:lnTo>
                    <a:pt x="555" y="964"/>
                  </a:lnTo>
                  <a:lnTo>
                    <a:pt x="528" y="948"/>
                  </a:lnTo>
                  <a:lnTo>
                    <a:pt x="507" y="943"/>
                  </a:lnTo>
                  <a:lnTo>
                    <a:pt x="475" y="962"/>
                  </a:lnTo>
                  <a:lnTo>
                    <a:pt x="447" y="981"/>
                  </a:lnTo>
                  <a:lnTo>
                    <a:pt x="432" y="984"/>
                  </a:lnTo>
                  <a:lnTo>
                    <a:pt x="401" y="960"/>
                  </a:lnTo>
                  <a:lnTo>
                    <a:pt x="372" y="933"/>
                  </a:lnTo>
                  <a:lnTo>
                    <a:pt x="348" y="948"/>
                  </a:lnTo>
                  <a:lnTo>
                    <a:pt x="322" y="952"/>
                  </a:lnTo>
                  <a:lnTo>
                    <a:pt x="310" y="938"/>
                  </a:lnTo>
                  <a:lnTo>
                    <a:pt x="283" y="936"/>
                  </a:lnTo>
                  <a:lnTo>
                    <a:pt x="267" y="931"/>
                  </a:lnTo>
                  <a:lnTo>
                    <a:pt x="250" y="919"/>
                  </a:lnTo>
                  <a:lnTo>
                    <a:pt x="221" y="945"/>
                  </a:lnTo>
                  <a:lnTo>
                    <a:pt x="207" y="933"/>
                  </a:lnTo>
                  <a:lnTo>
                    <a:pt x="185" y="955"/>
                  </a:lnTo>
                  <a:lnTo>
                    <a:pt x="166" y="957"/>
                  </a:lnTo>
                  <a:lnTo>
                    <a:pt x="151" y="974"/>
                  </a:lnTo>
                  <a:lnTo>
                    <a:pt x="120" y="967"/>
                  </a:lnTo>
                  <a:lnTo>
                    <a:pt x="96" y="991"/>
                  </a:lnTo>
                  <a:lnTo>
                    <a:pt x="67" y="974"/>
                  </a:lnTo>
                  <a:lnTo>
                    <a:pt x="55" y="960"/>
                  </a:lnTo>
                  <a:lnTo>
                    <a:pt x="55" y="928"/>
                  </a:lnTo>
                  <a:lnTo>
                    <a:pt x="87" y="919"/>
                  </a:lnTo>
                  <a:lnTo>
                    <a:pt x="65" y="873"/>
                  </a:lnTo>
                  <a:lnTo>
                    <a:pt x="70" y="832"/>
                  </a:lnTo>
                  <a:lnTo>
                    <a:pt x="94" y="782"/>
                  </a:lnTo>
                  <a:lnTo>
                    <a:pt x="65" y="777"/>
                  </a:lnTo>
                  <a:lnTo>
                    <a:pt x="58" y="756"/>
                  </a:lnTo>
                  <a:lnTo>
                    <a:pt x="39" y="746"/>
                  </a:lnTo>
                  <a:lnTo>
                    <a:pt x="22" y="724"/>
                  </a:lnTo>
                  <a:lnTo>
                    <a:pt x="41" y="703"/>
                  </a:lnTo>
                  <a:lnTo>
                    <a:pt x="65" y="698"/>
                  </a:lnTo>
                  <a:lnTo>
                    <a:pt x="77" y="672"/>
                  </a:lnTo>
                  <a:lnTo>
                    <a:pt x="75" y="645"/>
                  </a:lnTo>
                  <a:lnTo>
                    <a:pt x="67" y="624"/>
                  </a:lnTo>
                  <a:lnTo>
                    <a:pt x="51" y="607"/>
                  </a:lnTo>
                  <a:lnTo>
                    <a:pt x="31" y="595"/>
                  </a:lnTo>
                  <a:lnTo>
                    <a:pt x="51" y="571"/>
                  </a:lnTo>
                  <a:lnTo>
                    <a:pt x="55" y="547"/>
                  </a:lnTo>
                  <a:lnTo>
                    <a:pt x="43" y="525"/>
                  </a:lnTo>
                  <a:lnTo>
                    <a:pt x="24" y="520"/>
                  </a:lnTo>
                  <a:lnTo>
                    <a:pt x="10" y="496"/>
                  </a:lnTo>
                  <a:lnTo>
                    <a:pt x="12" y="477"/>
                  </a:lnTo>
                  <a:lnTo>
                    <a:pt x="3" y="458"/>
                  </a:lnTo>
                  <a:lnTo>
                    <a:pt x="7" y="439"/>
                  </a:lnTo>
                  <a:lnTo>
                    <a:pt x="0" y="424"/>
                  </a:lnTo>
                  <a:lnTo>
                    <a:pt x="17" y="405"/>
                  </a:lnTo>
                  <a:lnTo>
                    <a:pt x="43" y="384"/>
                  </a:lnTo>
                  <a:lnTo>
                    <a:pt x="65" y="350"/>
                  </a:lnTo>
                  <a:lnTo>
                    <a:pt x="113" y="357"/>
                  </a:lnTo>
                  <a:lnTo>
                    <a:pt x="154" y="367"/>
                  </a:lnTo>
                  <a:lnTo>
                    <a:pt x="173" y="360"/>
                  </a:lnTo>
                  <a:lnTo>
                    <a:pt x="187" y="338"/>
                  </a:lnTo>
                  <a:lnTo>
                    <a:pt x="192" y="316"/>
                  </a:lnTo>
                  <a:lnTo>
                    <a:pt x="199" y="290"/>
                  </a:lnTo>
                  <a:lnTo>
                    <a:pt x="178" y="266"/>
                  </a:lnTo>
                  <a:lnTo>
                    <a:pt x="161" y="223"/>
                  </a:lnTo>
                  <a:lnTo>
                    <a:pt x="139" y="208"/>
                  </a:lnTo>
                  <a:lnTo>
                    <a:pt x="115" y="196"/>
                  </a:lnTo>
                  <a:lnTo>
                    <a:pt x="91" y="182"/>
                  </a:lnTo>
                  <a:lnTo>
                    <a:pt x="72" y="153"/>
                  </a:lnTo>
                  <a:lnTo>
                    <a:pt x="106" y="129"/>
                  </a:lnTo>
                  <a:lnTo>
                    <a:pt x="151" y="93"/>
                  </a:lnTo>
                  <a:lnTo>
                    <a:pt x="139" y="79"/>
                  </a:lnTo>
                  <a:lnTo>
                    <a:pt x="156" y="64"/>
                  </a:lnTo>
                  <a:lnTo>
                    <a:pt x="175" y="57"/>
                  </a:lnTo>
                  <a:lnTo>
                    <a:pt x="199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 272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6414674" y="4294979"/>
              <a:ext cx="942163" cy="730454"/>
            </a:xfrm>
            <a:custGeom>
              <a:avLst/>
              <a:gdLst>
                <a:gd name="T0" fmla="*/ 159436 w 1041"/>
                <a:gd name="T1" fmla="*/ 73892 h 807"/>
                <a:gd name="T2" fmla="*/ 307206 w 1041"/>
                <a:gd name="T3" fmla="*/ 54447 h 807"/>
                <a:gd name="T4" fmla="*/ 622190 w 1041"/>
                <a:gd name="T5" fmla="*/ 23334 h 807"/>
                <a:gd name="T6" fmla="*/ 843845 w 1041"/>
                <a:gd name="T7" fmla="*/ 0 h 807"/>
                <a:gd name="T8" fmla="*/ 863289 w 1041"/>
                <a:gd name="T9" fmla="*/ 124451 h 807"/>
                <a:gd name="T10" fmla="*/ 878844 w 1041"/>
                <a:gd name="T11" fmla="*/ 198343 h 807"/>
                <a:gd name="T12" fmla="*/ 948840 w 1041"/>
                <a:gd name="T13" fmla="*/ 248901 h 807"/>
                <a:gd name="T14" fmla="*/ 1018836 w 1041"/>
                <a:gd name="T15" fmla="*/ 307237 h 807"/>
                <a:gd name="T16" fmla="*/ 1038280 w 1041"/>
                <a:gd name="T17" fmla="*/ 388908 h 807"/>
                <a:gd name="T18" fmla="*/ 1119942 w 1041"/>
                <a:gd name="T19" fmla="*/ 412242 h 807"/>
                <a:gd name="T20" fmla="*/ 1209382 w 1041"/>
                <a:gd name="T21" fmla="*/ 521136 h 807"/>
                <a:gd name="T22" fmla="*/ 1166606 w 1041"/>
                <a:gd name="T23" fmla="*/ 598918 h 807"/>
                <a:gd name="T24" fmla="*/ 1232714 w 1041"/>
                <a:gd name="T25" fmla="*/ 672811 h 807"/>
                <a:gd name="T26" fmla="*/ 1302710 w 1041"/>
                <a:gd name="T27" fmla="*/ 723369 h 807"/>
                <a:gd name="T28" fmla="*/ 1294933 w 1041"/>
                <a:gd name="T29" fmla="*/ 773927 h 807"/>
                <a:gd name="T30" fmla="*/ 1182161 w 1041"/>
                <a:gd name="T31" fmla="*/ 738925 h 807"/>
                <a:gd name="T32" fmla="*/ 1104387 w 1041"/>
                <a:gd name="T33" fmla="*/ 711701 h 807"/>
                <a:gd name="T34" fmla="*/ 1046057 w 1041"/>
                <a:gd name="T35" fmla="*/ 715590 h 807"/>
                <a:gd name="T36" fmla="*/ 1007170 w 1041"/>
                <a:gd name="T37" fmla="*/ 735036 h 807"/>
                <a:gd name="T38" fmla="*/ 933285 w 1041"/>
                <a:gd name="T39" fmla="*/ 801150 h 807"/>
                <a:gd name="T40" fmla="*/ 952729 w 1041"/>
                <a:gd name="T41" fmla="*/ 902266 h 807"/>
                <a:gd name="T42" fmla="*/ 937174 w 1041"/>
                <a:gd name="T43" fmla="*/ 933379 h 807"/>
                <a:gd name="T44" fmla="*/ 851623 w 1041"/>
                <a:gd name="T45" fmla="*/ 917822 h 807"/>
                <a:gd name="T46" fmla="*/ 785515 w 1041"/>
                <a:gd name="T47" fmla="*/ 886710 h 807"/>
                <a:gd name="T48" fmla="*/ 703853 w 1041"/>
                <a:gd name="T49" fmla="*/ 875043 h 807"/>
                <a:gd name="T50" fmla="*/ 633856 w 1041"/>
                <a:gd name="T51" fmla="*/ 867264 h 807"/>
                <a:gd name="T52" fmla="*/ 548305 w 1041"/>
                <a:gd name="T53" fmla="*/ 890599 h 807"/>
                <a:gd name="T54" fmla="*/ 478309 w 1041"/>
                <a:gd name="T55" fmla="*/ 948935 h 807"/>
                <a:gd name="T56" fmla="*/ 466643 w 1041"/>
                <a:gd name="T57" fmla="*/ 1011160 h 807"/>
                <a:gd name="T58" fmla="*/ 439422 w 1041"/>
                <a:gd name="T59" fmla="*/ 1003382 h 807"/>
                <a:gd name="T60" fmla="*/ 377203 w 1041"/>
                <a:gd name="T61" fmla="*/ 956713 h 807"/>
                <a:gd name="T62" fmla="*/ 322761 w 1041"/>
                <a:gd name="T63" fmla="*/ 886710 h 807"/>
                <a:gd name="T64" fmla="*/ 264431 w 1041"/>
                <a:gd name="T65" fmla="*/ 816706 h 807"/>
                <a:gd name="T66" fmla="*/ 198323 w 1041"/>
                <a:gd name="T67" fmla="*/ 805039 h 807"/>
                <a:gd name="T68" fmla="*/ 174991 w 1041"/>
                <a:gd name="T69" fmla="*/ 700034 h 807"/>
                <a:gd name="T70" fmla="*/ 186657 w 1041"/>
                <a:gd name="T71" fmla="*/ 610585 h 807"/>
                <a:gd name="T72" fmla="*/ 186657 w 1041"/>
                <a:gd name="T73" fmla="*/ 482246 h 807"/>
                <a:gd name="T74" fmla="*/ 128327 w 1041"/>
                <a:gd name="T75" fmla="*/ 357795 h 807"/>
                <a:gd name="T76" fmla="*/ 81662 w 1041"/>
                <a:gd name="T77" fmla="*/ 248901 h 807"/>
                <a:gd name="T78" fmla="*/ 42776 w 1041"/>
                <a:gd name="T79" fmla="*/ 151674 h 80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41"/>
                <a:gd name="T121" fmla="*/ 0 h 807"/>
                <a:gd name="T122" fmla="*/ 1041 w 1041"/>
                <a:gd name="T123" fmla="*/ 807 h 80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41" h="807">
                  <a:moveTo>
                    <a:pt x="0" y="72"/>
                  </a:moveTo>
                  <a:lnTo>
                    <a:pt x="123" y="57"/>
                  </a:lnTo>
                  <a:lnTo>
                    <a:pt x="198" y="48"/>
                  </a:lnTo>
                  <a:lnTo>
                    <a:pt x="237" y="42"/>
                  </a:lnTo>
                  <a:lnTo>
                    <a:pt x="363" y="33"/>
                  </a:lnTo>
                  <a:lnTo>
                    <a:pt x="480" y="18"/>
                  </a:lnTo>
                  <a:lnTo>
                    <a:pt x="597" y="0"/>
                  </a:lnTo>
                  <a:lnTo>
                    <a:pt x="651" y="0"/>
                  </a:lnTo>
                  <a:lnTo>
                    <a:pt x="669" y="48"/>
                  </a:lnTo>
                  <a:lnTo>
                    <a:pt x="666" y="96"/>
                  </a:lnTo>
                  <a:lnTo>
                    <a:pt x="678" y="120"/>
                  </a:lnTo>
                  <a:lnTo>
                    <a:pt x="678" y="153"/>
                  </a:lnTo>
                  <a:lnTo>
                    <a:pt x="687" y="183"/>
                  </a:lnTo>
                  <a:lnTo>
                    <a:pt x="732" y="192"/>
                  </a:lnTo>
                  <a:lnTo>
                    <a:pt x="765" y="210"/>
                  </a:lnTo>
                  <a:lnTo>
                    <a:pt x="786" y="237"/>
                  </a:lnTo>
                  <a:lnTo>
                    <a:pt x="798" y="267"/>
                  </a:lnTo>
                  <a:lnTo>
                    <a:pt x="801" y="300"/>
                  </a:lnTo>
                  <a:lnTo>
                    <a:pt x="840" y="315"/>
                  </a:lnTo>
                  <a:lnTo>
                    <a:pt x="864" y="318"/>
                  </a:lnTo>
                  <a:lnTo>
                    <a:pt x="927" y="348"/>
                  </a:lnTo>
                  <a:lnTo>
                    <a:pt x="933" y="402"/>
                  </a:lnTo>
                  <a:lnTo>
                    <a:pt x="927" y="432"/>
                  </a:lnTo>
                  <a:lnTo>
                    <a:pt x="900" y="462"/>
                  </a:lnTo>
                  <a:lnTo>
                    <a:pt x="963" y="480"/>
                  </a:lnTo>
                  <a:lnTo>
                    <a:pt x="951" y="519"/>
                  </a:lnTo>
                  <a:lnTo>
                    <a:pt x="969" y="546"/>
                  </a:lnTo>
                  <a:lnTo>
                    <a:pt x="1005" y="558"/>
                  </a:lnTo>
                  <a:lnTo>
                    <a:pt x="1041" y="579"/>
                  </a:lnTo>
                  <a:lnTo>
                    <a:pt x="999" y="597"/>
                  </a:lnTo>
                  <a:lnTo>
                    <a:pt x="942" y="576"/>
                  </a:lnTo>
                  <a:lnTo>
                    <a:pt x="912" y="570"/>
                  </a:lnTo>
                  <a:lnTo>
                    <a:pt x="876" y="555"/>
                  </a:lnTo>
                  <a:lnTo>
                    <a:pt x="852" y="549"/>
                  </a:lnTo>
                  <a:lnTo>
                    <a:pt x="834" y="537"/>
                  </a:lnTo>
                  <a:lnTo>
                    <a:pt x="807" y="552"/>
                  </a:lnTo>
                  <a:lnTo>
                    <a:pt x="786" y="546"/>
                  </a:lnTo>
                  <a:lnTo>
                    <a:pt x="777" y="567"/>
                  </a:lnTo>
                  <a:lnTo>
                    <a:pt x="738" y="588"/>
                  </a:lnTo>
                  <a:lnTo>
                    <a:pt x="720" y="618"/>
                  </a:lnTo>
                  <a:lnTo>
                    <a:pt x="720" y="657"/>
                  </a:lnTo>
                  <a:lnTo>
                    <a:pt x="735" y="696"/>
                  </a:lnTo>
                  <a:lnTo>
                    <a:pt x="747" y="723"/>
                  </a:lnTo>
                  <a:lnTo>
                    <a:pt x="723" y="720"/>
                  </a:lnTo>
                  <a:lnTo>
                    <a:pt x="696" y="699"/>
                  </a:lnTo>
                  <a:lnTo>
                    <a:pt x="657" y="708"/>
                  </a:lnTo>
                  <a:lnTo>
                    <a:pt x="633" y="693"/>
                  </a:lnTo>
                  <a:lnTo>
                    <a:pt x="606" y="684"/>
                  </a:lnTo>
                  <a:lnTo>
                    <a:pt x="564" y="675"/>
                  </a:lnTo>
                  <a:lnTo>
                    <a:pt x="543" y="675"/>
                  </a:lnTo>
                  <a:lnTo>
                    <a:pt x="516" y="678"/>
                  </a:lnTo>
                  <a:lnTo>
                    <a:pt x="489" y="669"/>
                  </a:lnTo>
                  <a:lnTo>
                    <a:pt x="462" y="681"/>
                  </a:lnTo>
                  <a:lnTo>
                    <a:pt x="423" y="687"/>
                  </a:lnTo>
                  <a:lnTo>
                    <a:pt x="402" y="699"/>
                  </a:lnTo>
                  <a:lnTo>
                    <a:pt x="369" y="732"/>
                  </a:lnTo>
                  <a:lnTo>
                    <a:pt x="375" y="759"/>
                  </a:lnTo>
                  <a:lnTo>
                    <a:pt x="360" y="780"/>
                  </a:lnTo>
                  <a:lnTo>
                    <a:pt x="369" y="807"/>
                  </a:lnTo>
                  <a:lnTo>
                    <a:pt x="339" y="774"/>
                  </a:lnTo>
                  <a:lnTo>
                    <a:pt x="312" y="753"/>
                  </a:lnTo>
                  <a:lnTo>
                    <a:pt x="291" y="738"/>
                  </a:lnTo>
                  <a:lnTo>
                    <a:pt x="246" y="720"/>
                  </a:lnTo>
                  <a:lnTo>
                    <a:pt x="249" y="684"/>
                  </a:lnTo>
                  <a:lnTo>
                    <a:pt x="231" y="657"/>
                  </a:lnTo>
                  <a:lnTo>
                    <a:pt x="204" y="630"/>
                  </a:lnTo>
                  <a:lnTo>
                    <a:pt x="177" y="621"/>
                  </a:lnTo>
                  <a:lnTo>
                    <a:pt x="153" y="621"/>
                  </a:lnTo>
                  <a:lnTo>
                    <a:pt x="120" y="585"/>
                  </a:lnTo>
                  <a:lnTo>
                    <a:pt x="135" y="540"/>
                  </a:lnTo>
                  <a:lnTo>
                    <a:pt x="144" y="507"/>
                  </a:lnTo>
                  <a:lnTo>
                    <a:pt x="144" y="471"/>
                  </a:lnTo>
                  <a:lnTo>
                    <a:pt x="156" y="435"/>
                  </a:lnTo>
                  <a:lnTo>
                    <a:pt x="144" y="372"/>
                  </a:lnTo>
                  <a:lnTo>
                    <a:pt x="123" y="300"/>
                  </a:lnTo>
                  <a:lnTo>
                    <a:pt x="99" y="276"/>
                  </a:lnTo>
                  <a:lnTo>
                    <a:pt x="84" y="237"/>
                  </a:lnTo>
                  <a:lnTo>
                    <a:pt x="63" y="192"/>
                  </a:lnTo>
                  <a:lnTo>
                    <a:pt x="48" y="150"/>
                  </a:lnTo>
                  <a:lnTo>
                    <a:pt x="33" y="117"/>
                  </a:lnTo>
                  <a:lnTo>
                    <a:pt x="0" y="7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6299617" y="2551007"/>
            <a:ext cx="15547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 smtClean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9,8 </a:t>
            </a:r>
            <a:r>
              <a:rPr lang="ru-RU" sz="1400" b="1" i="1" dirty="0" err="1" smtClean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рд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020375" y="3237101"/>
            <a:ext cx="14938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319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н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453071" y="4153272"/>
            <a:ext cx="15547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1,2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рд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125814" y="3477491"/>
            <a:ext cx="14938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121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н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7579157" y="2955781"/>
            <a:ext cx="165417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4,3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рд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879889" y="4583314"/>
            <a:ext cx="14938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720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н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048544" y="2955781"/>
            <a:ext cx="13944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93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н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443955" y="3461871"/>
            <a:ext cx="15547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5,6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рд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984368" y="2983676"/>
            <a:ext cx="14938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80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н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638206" y="4292506"/>
            <a:ext cx="15547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9,1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рд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426815" y="4516271"/>
            <a:ext cx="15547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,8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рд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7268262" y="2285576"/>
            <a:ext cx="15547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,4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рд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346136" y="1979074"/>
            <a:ext cx="14938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724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н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6493804" y="5029945"/>
            <a:ext cx="165417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i="1" dirty="0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8,6 </a:t>
            </a:r>
            <a:r>
              <a:rPr lang="ru-RU" sz="1400" b="1" i="1" dirty="0" err="1">
                <a:solidFill>
                  <a:srgbClr val="FF9933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лрд.тенге</a:t>
            </a:r>
            <a:endParaRPr lang="ru-RU" sz="1400" b="1" dirty="0">
              <a:solidFill>
                <a:srgbClr val="FF9933"/>
              </a:solidFill>
            </a:endParaRPr>
          </a:p>
        </p:txBody>
      </p:sp>
      <p:sp>
        <p:nvSpPr>
          <p:cNvPr id="48" name="Стрелка углом 47"/>
          <p:cNvSpPr/>
          <p:nvPr/>
        </p:nvSpPr>
        <p:spPr>
          <a:xfrm rot="5400000">
            <a:off x="2330165" y="1172869"/>
            <a:ext cx="761850" cy="1021628"/>
          </a:xfrm>
          <a:prstGeom prst="bentArrow">
            <a:avLst/>
          </a:prstGeom>
          <a:solidFill>
            <a:srgbClr val="008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0" y="0"/>
            <a:ext cx="9144000" cy="88710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800" b="1" cap="all" dirty="0">
                <a:latin typeface="Arial" pitchFamily="34" charset="0"/>
                <a:cs typeface="Arial" pitchFamily="34" charset="0"/>
              </a:rPr>
              <a:t>Местное содержание</a:t>
            </a:r>
          </a:p>
        </p:txBody>
      </p:sp>
    </p:spTree>
    <p:extLst>
      <p:ext uri="{BB962C8B-B14F-4D97-AF65-F5344CB8AC3E}">
        <p14:creationId xmlns:p14="http://schemas.microsoft.com/office/powerpoint/2010/main" xmlns="" val="3930026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2347416"/>
            <a:ext cx="9144000" cy="2101755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cap="all" dirty="0" smtClean="0">
                <a:latin typeface="Arial" pitchFamily="34" charset="0"/>
                <a:cs typeface="Arial" pitchFamily="34" charset="0"/>
              </a:rPr>
              <a:t>Перспективы </a:t>
            </a:r>
            <a:r>
              <a:rPr lang="ru-RU" sz="3200" b="1" cap="all" dirty="0">
                <a:latin typeface="Arial" pitchFamily="34" charset="0"/>
                <a:cs typeface="Arial" pitchFamily="34" charset="0"/>
              </a:rPr>
              <a:t>развития урановой </a:t>
            </a:r>
            <a:r>
              <a:rPr lang="ru-RU" sz="3200" b="1" cap="all" dirty="0" smtClean="0">
                <a:latin typeface="Arial" pitchFamily="34" charset="0"/>
                <a:cs typeface="Arial" pitchFamily="34" charset="0"/>
              </a:rPr>
              <a:t>промышленности</a:t>
            </a:r>
            <a:endParaRPr lang="ru-RU" sz="2400" b="1" cap="all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7432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1213" y="6569351"/>
            <a:ext cx="9144000" cy="295334"/>
          </a:xfrm>
          <a:prstGeom prst="rect">
            <a:avLst/>
          </a:prstGeom>
          <a:solidFill>
            <a:schemeClr val="accent1">
              <a:lumMod val="40000"/>
              <a:lumOff val="6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400" dirty="0" smtClean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781050" y="2019098"/>
            <a:ext cx="7156451" cy="2623292"/>
          </a:xfrm>
          <a:prstGeom prst="ellipse">
            <a:avLst/>
          </a:prstGeom>
          <a:noFill/>
          <a:ln w="57150"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011" t="3148" r="14136" b="3443"/>
          <a:stretch/>
        </p:blipFill>
        <p:spPr>
          <a:xfrm>
            <a:off x="4021861" y="1679047"/>
            <a:ext cx="939663" cy="1002276"/>
          </a:xfrm>
          <a:prstGeom prst="ellipse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1" b="6936"/>
          <a:stretch/>
        </p:blipFill>
        <p:spPr>
          <a:xfrm>
            <a:off x="6941465" y="4118575"/>
            <a:ext cx="912133" cy="1041185"/>
          </a:xfrm>
          <a:prstGeom prst="ellipse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2998" t="7065" r="18796"/>
          <a:stretch/>
        </p:blipFill>
        <p:spPr>
          <a:xfrm>
            <a:off x="1275151" y="4117158"/>
            <a:ext cx="858449" cy="959716"/>
          </a:xfrm>
          <a:prstGeom prst="ellipse">
            <a:avLst/>
          </a:prstGeom>
        </p:spPr>
      </p:pic>
      <p:sp>
        <p:nvSpPr>
          <p:cNvPr id="35" name="Овал 34"/>
          <p:cNvSpPr/>
          <p:nvPr/>
        </p:nvSpPr>
        <p:spPr>
          <a:xfrm>
            <a:off x="6181665" y="1859718"/>
            <a:ext cx="1066670" cy="1044168"/>
          </a:xfrm>
          <a:prstGeom prst="ellipse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a:blipFill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36" name="Овал 35"/>
          <p:cNvSpPr/>
          <p:nvPr/>
        </p:nvSpPr>
        <p:spPr>
          <a:xfrm>
            <a:off x="1613452" y="1852503"/>
            <a:ext cx="1040297" cy="1045776"/>
          </a:xfrm>
          <a:prstGeom prst="ellipse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a:blipFill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631457" y="5786412"/>
            <a:ext cx="12718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579400" y="5844524"/>
            <a:ext cx="1596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rPr>
              <a:t>ИЗГОТОВЛЕНИЕ ПОРОШКОВ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rPr>
              <a:t>ДИОКСИДА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rPr>
              <a:t>УРАНА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979954" y="5388914"/>
            <a:ext cx="13701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rPr>
              <a:t>ИЗГОТОВЛЕНИЕ ТОПЛИВНЫХ ТАБЛЕТОК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937196" y="863095"/>
            <a:ext cx="12260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rPr>
              <a:t>ДОБЫЧА УРАНА</a:t>
            </a: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7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403191" y="3241368"/>
            <a:ext cx="204475" cy="209888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607666" y="3200968"/>
            <a:ext cx="24502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СУЩЕСТВУЮЩИЕ ПРОИЗВОДСТВА</a:t>
            </a:r>
          </a:p>
        </p:txBody>
      </p:sp>
      <p:sp>
        <p:nvSpPr>
          <p:cNvPr id="25" name="Овал 24"/>
          <p:cNvSpPr/>
          <p:nvPr/>
        </p:nvSpPr>
        <p:spPr>
          <a:xfrm>
            <a:off x="3431456" y="3609867"/>
            <a:ext cx="147944" cy="147403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607666" y="3549459"/>
            <a:ext cx="28200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В СТАДИИ </a:t>
            </a:r>
            <a:r>
              <a:rPr lang="ru-RU" sz="1200" b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ЛАНИРОВАНИЯ И СОЗДАНИЯ</a:t>
            </a:r>
            <a:endParaRPr lang="ru-RU" sz="1200" b="1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9983" y="3889366"/>
            <a:ext cx="1289051" cy="1363794"/>
          </a:xfrm>
          <a:prstGeom prst="rect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15000" y="3929405"/>
            <a:ext cx="1365062" cy="1444213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05452" y="1343855"/>
            <a:ext cx="1463622" cy="154848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1752" b="7833"/>
          <a:stretch/>
        </p:blipFill>
        <p:spPr>
          <a:xfrm>
            <a:off x="3887520" y="4631972"/>
            <a:ext cx="849580" cy="894157"/>
          </a:xfrm>
          <a:prstGeom prst="ellipse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6941465" y="5664835"/>
            <a:ext cx="2046008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77800" algn="ctr"/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rPr>
              <a:t>2. УЧАСТИЕ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rPr>
              <a:t>В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rPr>
              <a:t>ОБОГАЩЕНИИ УРАНА</a:t>
            </a:r>
          </a:p>
          <a:p>
            <a:pPr marL="177800" algn="ctr"/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rPr>
              <a:t>КАП – 50%, ТВЭЛ – 50%,</a:t>
            </a:r>
          </a:p>
          <a:p>
            <a:pPr marL="177800" algn="ctr"/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 Narrow" panose="020B0606020202030204" pitchFamily="34" charset="0"/>
              </a:rPr>
              <a:t>5 млн ЕРР/год</a:t>
            </a: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45" name="Picture 4" descr="Image result">
            <a:hlinkClick r:id="rId10"/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2922" t="19308" r="25890" b="16088"/>
          <a:stretch/>
        </p:blipFill>
        <p:spPr bwMode="auto">
          <a:xfrm>
            <a:off x="7028370" y="5737571"/>
            <a:ext cx="229186" cy="304069"/>
          </a:xfrm>
          <a:prstGeom prst="rect">
            <a:avLst/>
          </a:prstGeom>
          <a:noFill/>
        </p:spPr>
      </p:pic>
      <p:sp>
        <p:nvSpPr>
          <p:cNvPr id="47" name="TextBox 46"/>
          <p:cNvSpPr txBox="1"/>
          <p:nvPr/>
        </p:nvSpPr>
        <p:spPr>
          <a:xfrm>
            <a:off x="127494" y="921048"/>
            <a:ext cx="2006106" cy="83099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79388" indent="90488" algn="ctr"/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3. ПРОИЗВОДСТВО </a:t>
            </a:r>
            <a:endParaRPr lang="ru-RU" sz="1200" b="1" dirty="0">
              <a:solidFill>
                <a:srgbClr val="FF0000"/>
              </a:solidFill>
              <a:latin typeface="Arial Narrow" panose="020B0606020202030204" pitchFamily="34" charset="0"/>
            </a:endParaRPr>
          </a:p>
          <a:p>
            <a:pPr marL="179388" indent="90488" algn="ctr"/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ТЕПЛОВЫДЕЛЯЮЩИХ </a:t>
            </a:r>
          </a:p>
          <a:p>
            <a:pPr marL="179388" indent="90488" algn="ctr"/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СБОРОК</a:t>
            </a:r>
          </a:p>
          <a:p>
            <a:pPr marL="179388" indent="90488" algn="ctr"/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(</a:t>
            </a:r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ТВС)</a:t>
            </a:r>
          </a:p>
        </p:txBody>
      </p:sp>
      <p:pic>
        <p:nvPicPr>
          <p:cNvPr id="51" name="Рисунок 50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8393"/>
          <a:stretch/>
        </p:blipFill>
        <p:spPr>
          <a:xfrm>
            <a:off x="179459" y="1367217"/>
            <a:ext cx="509583" cy="208690"/>
          </a:xfrm>
          <a:prstGeom prst="rect">
            <a:avLst/>
          </a:prstGeom>
        </p:spPr>
      </p:pic>
      <p:sp>
        <p:nvSpPr>
          <p:cNvPr id="52" name="TextBox 51"/>
          <p:cNvSpPr txBox="1"/>
          <p:nvPr/>
        </p:nvSpPr>
        <p:spPr>
          <a:xfrm>
            <a:off x="6873926" y="946047"/>
            <a:ext cx="2127149" cy="830997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79388" indent="-1588" algn="ctr"/>
            <a:r>
              <a:rPr lang="ru-RU" sz="12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1. АФФИНАЖНЫЙ </a:t>
            </a:r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ЗАВОД (</a:t>
            </a:r>
            <a:r>
              <a:rPr lang="en-US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UO3)</a:t>
            </a:r>
          </a:p>
          <a:p>
            <a:pPr marL="179388" indent="-1588" algn="ctr"/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ФТОРИДНОЕ ПРОИЗВОДСТВО (</a:t>
            </a:r>
            <a:r>
              <a:rPr lang="en-US" sz="1200" b="1" dirty="0">
                <a:solidFill>
                  <a:srgbClr val="FF0000"/>
                </a:solidFill>
                <a:latin typeface="Arial Narrow" panose="020B0606020202030204" pitchFamily="34" charset="0"/>
              </a:rPr>
              <a:t>UF6)</a:t>
            </a:r>
            <a:endParaRPr lang="ru-RU" sz="1200" b="1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pic>
        <p:nvPicPr>
          <p:cNvPr id="60" name="Рисунок 5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52595" y="1211255"/>
            <a:ext cx="337316" cy="254868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0" y="1"/>
            <a:ext cx="9144000" cy="769251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cap="all" dirty="0">
                <a:latin typeface="Arial" pitchFamily="34" charset="0"/>
                <a:cs typeface="Arial" pitchFamily="34" charset="0"/>
              </a:rPr>
              <a:t>Создание производств ядерно-топливного цикла</a:t>
            </a: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52911" y="4344241"/>
            <a:ext cx="1357369" cy="1436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26803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Скругленный прямоугольник 190"/>
          <p:cNvSpPr/>
          <p:nvPr/>
        </p:nvSpPr>
        <p:spPr>
          <a:xfrm>
            <a:off x="1060450" y="3861730"/>
            <a:ext cx="8012742" cy="300256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60450" y="601934"/>
            <a:ext cx="8012742" cy="321180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ятиугольник 28"/>
          <p:cNvSpPr/>
          <p:nvPr/>
        </p:nvSpPr>
        <p:spPr>
          <a:xfrm>
            <a:off x="1272410" y="4027973"/>
            <a:ext cx="1370238" cy="519502"/>
          </a:xfrm>
          <a:prstGeom prst="homePlate">
            <a:avLst/>
          </a:prstGeom>
          <a:solidFill>
            <a:srgbClr val="F7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89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Нашивка 29"/>
          <p:cNvSpPr/>
          <p:nvPr/>
        </p:nvSpPr>
        <p:spPr>
          <a:xfrm>
            <a:off x="2487951" y="4027973"/>
            <a:ext cx="1062046" cy="519502"/>
          </a:xfrm>
          <a:prstGeom prst="chevron">
            <a:avLst/>
          </a:prstGeom>
          <a:solidFill>
            <a:srgbClr val="F7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89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Нашивка 30"/>
          <p:cNvSpPr/>
          <p:nvPr/>
        </p:nvSpPr>
        <p:spPr>
          <a:xfrm>
            <a:off x="3393076" y="4027973"/>
            <a:ext cx="801061" cy="519502"/>
          </a:xfrm>
          <a:prstGeom prst="chevron">
            <a:avLst/>
          </a:prstGeom>
          <a:solidFill>
            <a:srgbClr val="646464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араллелограмм 33"/>
          <p:cNvSpPr/>
          <p:nvPr/>
        </p:nvSpPr>
        <p:spPr>
          <a:xfrm flipV="1">
            <a:off x="4694603" y="4028095"/>
            <a:ext cx="3072187" cy="244939"/>
          </a:xfrm>
          <a:prstGeom prst="parallelogram">
            <a:avLst>
              <a:gd name="adj" fmla="val 103006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Нашивка 35"/>
          <p:cNvSpPr/>
          <p:nvPr/>
        </p:nvSpPr>
        <p:spPr>
          <a:xfrm>
            <a:off x="7613418" y="4021362"/>
            <a:ext cx="608573" cy="519502"/>
          </a:xfrm>
          <a:prstGeom prst="chevron">
            <a:avLst/>
          </a:prstGeom>
          <a:solidFill>
            <a:srgbClr val="243D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араллелограмм 36"/>
          <p:cNvSpPr/>
          <p:nvPr/>
        </p:nvSpPr>
        <p:spPr>
          <a:xfrm>
            <a:off x="4694603" y="4293496"/>
            <a:ext cx="1794867" cy="244939"/>
          </a:xfrm>
          <a:prstGeom prst="parallelogram">
            <a:avLst>
              <a:gd name="adj" fmla="val 103006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Нашивка 37"/>
          <p:cNvSpPr/>
          <p:nvPr/>
        </p:nvSpPr>
        <p:spPr>
          <a:xfrm>
            <a:off x="4039407" y="4027973"/>
            <a:ext cx="801061" cy="519502"/>
          </a:xfrm>
          <a:prstGeom prst="chevron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араллелограмм 38"/>
          <p:cNvSpPr/>
          <p:nvPr/>
        </p:nvSpPr>
        <p:spPr>
          <a:xfrm>
            <a:off x="6325033" y="4286362"/>
            <a:ext cx="1433117" cy="244939"/>
          </a:xfrm>
          <a:prstGeom prst="parallelogram">
            <a:avLst>
              <a:gd name="adj" fmla="val 103006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Нашивка 39"/>
          <p:cNvSpPr/>
          <p:nvPr/>
        </p:nvSpPr>
        <p:spPr>
          <a:xfrm>
            <a:off x="8066448" y="4016580"/>
            <a:ext cx="583425" cy="519502"/>
          </a:xfrm>
          <a:prstGeom prst="chevron">
            <a:avLst/>
          </a:prstGeom>
          <a:solidFill>
            <a:srgbClr val="243D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Нашивка 40"/>
          <p:cNvSpPr/>
          <p:nvPr/>
        </p:nvSpPr>
        <p:spPr>
          <a:xfrm>
            <a:off x="8488754" y="4011798"/>
            <a:ext cx="527696" cy="519502"/>
          </a:xfrm>
          <a:prstGeom prst="chevron">
            <a:avLst/>
          </a:prstGeom>
          <a:solidFill>
            <a:srgbClr val="243D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279965" y="4049388"/>
            <a:ext cx="11367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243D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ициация проекта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642941" y="4103788"/>
            <a:ext cx="914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>
                <a:solidFill>
                  <a:srgbClr val="243D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варительное ТЭО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513469" y="4154807"/>
            <a:ext cx="6436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ЭО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230521" y="4163525"/>
            <a:ext cx="6010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Д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5098308" y="4002116"/>
            <a:ext cx="19845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768900" y="4254189"/>
            <a:ext cx="15844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ка оборудования, СМР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390482" y="4239876"/>
            <a:ext cx="12711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од в эксплуатацию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7603912" y="4081539"/>
            <a:ext cx="16178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rgbClr val="F7A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вод на рабочий</a:t>
            </a:r>
          </a:p>
          <a:p>
            <a:pPr algn="ctr"/>
            <a:r>
              <a:rPr lang="ru-RU" sz="1200" b="1" dirty="0">
                <a:solidFill>
                  <a:srgbClr val="F7A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</a:t>
            </a:r>
            <a:endParaRPr lang="en-US" sz="3600" b="1" dirty="0">
              <a:solidFill>
                <a:srgbClr val="F7A7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872060" y="329948"/>
            <a:ext cx="288862" cy="3157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52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7" name="Isosceles Triangle 40"/>
          <p:cNvSpPr/>
          <p:nvPr/>
        </p:nvSpPr>
        <p:spPr>
          <a:xfrm rot="10800000" flipV="1">
            <a:off x="6156149" y="4550434"/>
            <a:ext cx="118880" cy="13558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3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Объект 3"/>
          <p:cNvSpPr txBox="1">
            <a:spLocks/>
          </p:cNvSpPr>
          <p:nvPr/>
        </p:nvSpPr>
        <p:spPr>
          <a:xfrm>
            <a:off x="5855784" y="4647470"/>
            <a:ext cx="725689" cy="172187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16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прель 2020</a:t>
            </a:r>
            <a:endParaRPr lang="ru-RU" sz="816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Isosceles Triangle 40"/>
          <p:cNvSpPr/>
          <p:nvPr/>
        </p:nvSpPr>
        <p:spPr>
          <a:xfrm rot="10800000" flipV="1">
            <a:off x="7433621" y="4544850"/>
            <a:ext cx="118880" cy="13558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3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Объект 3"/>
          <p:cNvSpPr txBox="1">
            <a:spLocks/>
          </p:cNvSpPr>
          <p:nvPr/>
        </p:nvSpPr>
        <p:spPr>
          <a:xfrm>
            <a:off x="7172012" y="4651963"/>
            <a:ext cx="642096" cy="131597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16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юль 2020</a:t>
            </a:r>
            <a:endParaRPr lang="ru-RU" sz="816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Isosceles Triangle 40"/>
          <p:cNvSpPr/>
          <p:nvPr/>
        </p:nvSpPr>
        <p:spPr>
          <a:xfrm rot="10800000" flipV="1">
            <a:off x="8260981" y="4561999"/>
            <a:ext cx="118880" cy="13558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3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Объект 3"/>
          <p:cNvSpPr txBox="1">
            <a:spLocks/>
          </p:cNvSpPr>
          <p:nvPr/>
        </p:nvSpPr>
        <p:spPr>
          <a:xfrm>
            <a:off x="7603912" y="4651904"/>
            <a:ext cx="1405998" cy="424849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16" b="1" dirty="0">
                <a:latin typeface="Arial" panose="020B0604020202020204" pitchFamily="34" charset="0"/>
                <a:cs typeface="Arial" panose="020B0604020202020204" pitchFamily="34" charset="0"/>
              </a:rPr>
              <a:t>Август 2020</a:t>
            </a:r>
          </a:p>
          <a:p>
            <a:pPr algn="ctr"/>
            <a:r>
              <a:rPr lang="ru-RU" sz="816" dirty="0">
                <a:latin typeface="Arial" panose="020B0604020202020204" pitchFamily="34" charset="0"/>
                <a:cs typeface="Arial" panose="020B0604020202020204" pitchFamily="34" charset="0"/>
              </a:rPr>
              <a:t>Выпуск первой продукции</a:t>
            </a:r>
          </a:p>
        </p:txBody>
      </p:sp>
      <p:sp>
        <p:nvSpPr>
          <p:cNvPr id="64" name="Объект 3"/>
          <p:cNvSpPr txBox="1">
            <a:spLocks/>
          </p:cNvSpPr>
          <p:nvPr/>
        </p:nvSpPr>
        <p:spPr>
          <a:xfrm>
            <a:off x="4139885" y="4680430"/>
            <a:ext cx="890484" cy="161585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16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вгуст </a:t>
            </a:r>
          </a:p>
          <a:p>
            <a:pPr algn="ctr"/>
            <a:r>
              <a:rPr lang="ru-RU" sz="816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endParaRPr lang="ru-RU" sz="816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Isosceles Triangle 40"/>
          <p:cNvSpPr/>
          <p:nvPr/>
        </p:nvSpPr>
        <p:spPr>
          <a:xfrm rot="10800000" flipV="1">
            <a:off x="4516768" y="4580561"/>
            <a:ext cx="118880" cy="13558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3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Isosceles Triangle 40"/>
          <p:cNvSpPr/>
          <p:nvPr/>
        </p:nvSpPr>
        <p:spPr>
          <a:xfrm rot="10800000" flipV="1">
            <a:off x="3875089" y="4590826"/>
            <a:ext cx="118880" cy="13558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63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Объект 3"/>
          <p:cNvSpPr txBox="1">
            <a:spLocks/>
          </p:cNvSpPr>
          <p:nvPr/>
        </p:nvSpPr>
        <p:spPr>
          <a:xfrm>
            <a:off x="3596471" y="4692344"/>
            <a:ext cx="724212" cy="136834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16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екабрь 2017</a:t>
            </a:r>
            <a:endParaRPr lang="en-US" sz="816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Объект 3"/>
          <p:cNvSpPr txBox="1">
            <a:spLocks/>
          </p:cNvSpPr>
          <p:nvPr/>
        </p:nvSpPr>
        <p:spPr>
          <a:xfrm>
            <a:off x="1855089" y="4719743"/>
            <a:ext cx="1032449" cy="190419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16" b="1" dirty="0" smtClean="0">
                <a:latin typeface="Arial" panose="020B0604020202020204" pitchFamily="34" charset="0"/>
                <a:cs typeface="Arial" panose="020B0604020202020204" pitchFamily="34" charset="0"/>
              </a:rPr>
              <a:t>Январь 2016</a:t>
            </a:r>
            <a:endParaRPr lang="ru-RU" sz="816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Isosceles Triangle 40"/>
          <p:cNvSpPr/>
          <p:nvPr/>
        </p:nvSpPr>
        <p:spPr>
          <a:xfrm rot="10800000" flipV="1">
            <a:off x="2304300" y="4590827"/>
            <a:ext cx="118880" cy="13558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33" dirty="0" smtClean="0">
                <a:latin typeface="Arial" panose="020B0604020202020204" pitchFamily="34" charset="0"/>
                <a:cs typeface="Arial" panose="020B0604020202020204" pitchFamily="34" charset="0"/>
              </a:rPr>
              <a:t>ё</a:t>
            </a:r>
            <a:endParaRPr lang="en-US" sz="16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Объект 3"/>
          <p:cNvSpPr txBox="1">
            <a:spLocks/>
          </p:cNvSpPr>
          <p:nvPr/>
        </p:nvSpPr>
        <p:spPr>
          <a:xfrm>
            <a:off x="2209071" y="3837998"/>
            <a:ext cx="1494947" cy="242058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16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положение</a:t>
            </a:r>
            <a:endParaRPr lang="en-US" sz="816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1" name="Соединительная линия уступом 70"/>
          <p:cNvCxnSpPr/>
          <p:nvPr/>
        </p:nvCxnSpPr>
        <p:spPr>
          <a:xfrm rot="16200000" flipV="1">
            <a:off x="3526560" y="3954865"/>
            <a:ext cx="231090" cy="186228"/>
          </a:xfrm>
          <a:prstGeom prst="bentConnector2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55" name="Прямоугольник 54"/>
          <p:cNvSpPr/>
          <p:nvPr/>
        </p:nvSpPr>
        <p:spPr>
          <a:xfrm>
            <a:off x="2625855" y="7074037"/>
            <a:ext cx="120225" cy="326224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053"/>
          </a:p>
        </p:txBody>
      </p:sp>
      <p:sp>
        <p:nvSpPr>
          <p:cNvPr id="59" name="Прямоугольник с двумя скругленными соседними углами 58"/>
          <p:cNvSpPr/>
          <p:nvPr/>
        </p:nvSpPr>
        <p:spPr>
          <a:xfrm rot="16200000">
            <a:off x="3794036" y="3195614"/>
            <a:ext cx="1433290" cy="5446179"/>
          </a:xfrm>
          <a:prstGeom prst="round2SameRect">
            <a:avLst>
              <a:gd name="adj1" fmla="val 16667"/>
              <a:gd name="adj2" fmla="val 20516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xtBox 73"/>
          <p:cNvSpPr txBox="1">
            <a:spLocks noChangeArrowheads="1"/>
          </p:cNvSpPr>
          <p:nvPr/>
        </p:nvSpPr>
        <p:spPr bwMode="auto">
          <a:xfrm>
            <a:off x="2217420" y="5358918"/>
            <a:ext cx="470916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ko-KR" sz="1600" b="1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Стоимость </a:t>
            </a:r>
            <a:r>
              <a:rPr lang="ru-RU" altLang="ko-KR" sz="1600" b="1" dirty="0" smtClean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проекта: </a:t>
            </a:r>
            <a:r>
              <a:rPr lang="ru-RU" altLang="ko-KR" sz="1600" dirty="0" smtClean="0">
                <a:latin typeface="Arial" pitchFamily="34" charset="0"/>
                <a:cs typeface="Arial" pitchFamily="34" charset="0"/>
              </a:rPr>
              <a:t>37 </a:t>
            </a:r>
            <a:r>
              <a:rPr lang="ru-RU" altLang="ko-KR" sz="1600" dirty="0">
                <a:latin typeface="Arial" pitchFamily="34" charset="0"/>
                <a:cs typeface="Arial" pitchFamily="34" charset="0"/>
              </a:rPr>
              <a:t>803 </a:t>
            </a:r>
            <a:r>
              <a:rPr lang="ru-RU" altLang="ko-KR" sz="1600" dirty="0" err="1">
                <a:latin typeface="Arial" pitchFamily="34" charset="0"/>
                <a:cs typeface="Arial" pitchFamily="34" charset="0"/>
              </a:rPr>
              <a:t>млн.тг</a:t>
            </a:r>
            <a:r>
              <a:rPr lang="ru-RU" altLang="ko-KR" sz="1600" dirty="0">
                <a:latin typeface="Arial" pitchFamily="34" charset="0"/>
                <a:cs typeface="Arial" pitchFamily="34" charset="0"/>
              </a:rPr>
              <a:t>. </a:t>
            </a:r>
          </a:p>
          <a:p>
            <a:pPr algn="ctr">
              <a:defRPr/>
            </a:pPr>
            <a:r>
              <a:rPr lang="ru-RU" altLang="ko-KR" sz="1600" b="1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Схема </a:t>
            </a:r>
            <a:r>
              <a:rPr lang="ru-RU" altLang="ko-KR" sz="1600" b="1" dirty="0" smtClean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финансирования: </a:t>
            </a:r>
            <a:r>
              <a:rPr lang="ru-RU" altLang="ko-KR" sz="1600" dirty="0" smtClean="0">
                <a:latin typeface="Arial" pitchFamily="34" charset="0"/>
                <a:cs typeface="Arial" pitchFamily="34" charset="0"/>
              </a:rPr>
              <a:t>100</a:t>
            </a:r>
            <a:r>
              <a:rPr lang="ru-RU" altLang="ko-KR" sz="1600" dirty="0">
                <a:latin typeface="Arial" pitchFamily="34" charset="0"/>
                <a:cs typeface="Arial" pitchFamily="34" charset="0"/>
              </a:rPr>
              <a:t>% собств. </a:t>
            </a:r>
            <a:endParaRPr lang="ru-RU" altLang="ko-KR" sz="1600" dirty="0" smtClean="0"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altLang="ko-KR" sz="1600" b="1" dirty="0" smtClean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Финансирование: </a:t>
            </a:r>
            <a:r>
              <a:rPr lang="ru-RU" altLang="ko-KR" sz="1600" dirty="0" smtClean="0">
                <a:latin typeface="Arial" pitchFamily="34" charset="0"/>
                <a:cs typeface="Arial" pitchFamily="34" charset="0"/>
              </a:rPr>
              <a:t>АО </a:t>
            </a:r>
            <a:r>
              <a:rPr lang="ru-RU" altLang="ko-KR" sz="1600" dirty="0">
                <a:latin typeface="Arial" pitchFamily="34" charset="0"/>
                <a:cs typeface="Arial" pitchFamily="34" charset="0"/>
              </a:rPr>
              <a:t>«УМЗ» - 18 </a:t>
            </a:r>
            <a:r>
              <a:rPr lang="ru-RU" altLang="ko-KR" sz="1600" dirty="0" smtClean="0">
                <a:latin typeface="Arial" pitchFamily="34" charset="0"/>
                <a:cs typeface="Arial" pitchFamily="34" charset="0"/>
              </a:rPr>
              <a:t>304 </a:t>
            </a:r>
            <a:r>
              <a:rPr lang="ru-RU" altLang="ko-KR" sz="1600" dirty="0" err="1" smtClean="0">
                <a:latin typeface="Arial" pitchFamily="34" charset="0"/>
                <a:cs typeface="Arial" pitchFamily="34" charset="0"/>
              </a:rPr>
              <a:t>млн.тг</a:t>
            </a:r>
            <a:r>
              <a:rPr lang="ru-RU" altLang="ko-KR" sz="1600" dirty="0">
                <a:latin typeface="Arial" pitchFamily="34" charset="0"/>
                <a:cs typeface="Arial" pitchFamily="34" charset="0"/>
              </a:rPr>
              <a:t>. </a:t>
            </a:r>
          </a:p>
          <a:p>
            <a:pPr algn="ctr">
              <a:defRPr/>
            </a:pPr>
            <a:r>
              <a:rPr lang="ru-RU" altLang="ko-KR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ko-KR" sz="1600" dirty="0">
                <a:latin typeface="Arial" pitchFamily="34" charset="0"/>
                <a:cs typeface="Arial" pitchFamily="34" charset="0"/>
              </a:rPr>
              <a:t>Cameco – 17 586 </a:t>
            </a:r>
            <a:r>
              <a:rPr lang="ru-RU" altLang="ko-KR" sz="1600" dirty="0">
                <a:latin typeface="Arial" pitchFamily="34" charset="0"/>
                <a:cs typeface="Arial" pitchFamily="34" charset="0"/>
              </a:rPr>
              <a:t>млн. </a:t>
            </a:r>
            <a:r>
              <a:rPr lang="ru-RU" altLang="ko-KR" sz="1600" dirty="0" err="1">
                <a:latin typeface="Arial" pitchFamily="34" charset="0"/>
                <a:cs typeface="Arial" pitchFamily="34" charset="0"/>
              </a:rPr>
              <a:t>тг</a:t>
            </a:r>
            <a:r>
              <a:rPr lang="ru-RU" altLang="ko-KR" sz="16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0" y="1"/>
            <a:ext cx="9144000" cy="54186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cap="all" dirty="0">
                <a:latin typeface="Arial" pitchFamily="34" charset="0"/>
                <a:cs typeface="Arial" pitchFamily="34" charset="0"/>
              </a:rPr>
              <a:t>Проекты </a:t>
            </a:r>
            <a:r>
              <a:rPr lang="ru-RU" sz="2400" b="1" cap="all" dirty="0" smtClean="0">
                <a:latin typeface="Arial" pitchFamily="34" charset="0"/>
                <a:cs typeface="Arial" pitchFamily="34" charset="0"/>
              </a:rPr>
              <a:t>по обогащению </a:t>
            </a:r>
            <a:r>
              <a:rPr lang="ru-RU" sz="2400" b="1" cap="all" dirty="0">
                <a:latin typeface="Arial" pitchFamily="34" charset="0"/>
                <a:cs typeface="Arial" pitchFamily="34" charset="0"/>
              </a:rPr>
              <a:t>урана и </a:t>
            </a:r>
            <a:r>
              <a:rPr lang="ru-RU" sz="2400" b="1" cap="all" dirty="0" smtClean="0">
                <a:latin typeface="Arial" pitchFamily="34" charset="0"/>
                <a:cs typeface="Arial" pitchFamily="34" charset="0"/>
              </a:rPr>
              <a:t>конверсии</a:t>
            </a:r>
            <a:endParaRPr lang="ru-RU" sz="2400" b="1" cap="all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1" name="Прямоугольник с двумя скругленными соседними углами 160"/>
          <p:cNvSpPr/>
          <p:nvPr/>
        </p:nvSpPr>
        <p:spPr>
          <a:xfrm rot="16200000">
            <a:off x="3434383" y="-234044"/>
            <a:ext cx="1792346" cy="6094518"/>
          </a:xfrm>
          <a:prstGeom prst="round2SameRect">
            <a:avLst>
              <a:gd name="adj1" fmla="val 9379"/>
              <a:gd name="adj2" fmla="val 13422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2" name="TextBox 161"/>
          <p:cNvSpPr txBox="1">
            <a:spLocks noChangeArrowheads="1"/>
          </p:cNvSpPr>
          <p:nvPr/>
        </p:nvSpPr>
        <p:spPr bwMode="auto">
          <a:xfrm>
            <a:off x="1382155" y="1908634"/>
            <a:ext cx="5995658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5875" indent="-15875" algn="just"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тоимость проекта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сделки):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 228 млн. руб.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569 млн.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SD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5875" indent="-15875" algn="ctr"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% - оплата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учредителями в уставный капитал ЦОУ и  </a:t>
            </a:r>
          </a:p>
          <a:p>
            <a:pPr marL="15875" indent="-15875" algn="ctr"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70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% - привлечение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АО «ЦОУ» кредита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бербанке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оссии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2 500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млн.руб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15875" indent="-15875" algn="ctr"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378.8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лн.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SD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15875" indent="-15875" algn="just">
              <a:defRPr/>
            </a:pP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75" indent="-15875" algn="ctr"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осуществления сделки «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азатомпром»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нес взнос в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тавной капитал АО «ЦОУ»  2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 786,7 млн. руб.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84,4 млн.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USD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ko-KR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4" name="Пятиугольник 163"/>
          <p:cNvSpPr/>
          <p:nvPr/>
        </p:nvSpPr>
        <p:spPr>
          <a:xfrm>
            <a:off x="1256367" y="767827"/>
            <a:ext cx="952704" cy="572655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65" name="Нашивка 164"/>
          <p:cNvSpPr/>
          <p:nvPr/>
        </p:nvSpPr>
        <p:spPr>
          <a:xfrm>
            <a:off x="2060223" y="767827"/>
            <a:ext cx="1160179" cy="572655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66" name="Нашивка 165"/>
          <p:cNvSpPr/>
          <p:nvPr/>
        </p:nvSpPr>
        <p:spPr>
          <a:xfrm>
            <a:off x="4150042" y="767827"/>
            <a:ext cx="1538525" cy="572655"/>
          </a:xfrm>
          <a:prstGeom prst="chevron">
            <a:avLst/>
          </a:prstGeom>
          <a:solidFill>
            <a:schemeClr val="accent4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67" name="Нашивка 166"/>
          <p:cNvSpPr/>
          <p:nvPr/>
        </p:nvSpPr>
        <p:spPr>
          <a:xfrm>
            <a:off x="5555733" y="762206"/>
            <a:ext cx="2237124" cy="572655"/>
          </a:xfrm>
          <a:prstGeom prst="chevron">
            <a:avLst/>
          </a:prstGeom>
          <a:solidFill>
            <a:srgbClr val="243D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1250328" y="833816"/>
            <a:ext cx="7897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243D7C"/>
                </a:solidFill>
                <a:latin typeface="Arial Narrow" panose="020B0606020202030204" pitchFamily="34" charset="0"/>
              </a:rPr>
              <a:t>Создание </a:t>
            </a:r>
          </a:p>
          <a:p>
            <a:pPr algn="ctr"/>
            <a:r>
              <a:rPr lang="ru-RU" sz="1100" b="1" dirty="0" smtClean="0">
                <a:solidFill>
                  <a:srgbClr val="243D7C"/>
                </a:solidFill>
                <a:latin typeface="Arial Narrow" panose="020B0606020202030204" pitchFamily="34" charset="0"/>
              </a:rPr>
              <a:t>АО «ЦОУ»</a:t>
            </a:r>
            <a:endParaRPr lang="ru-RU" sz="1100" b="1" dirty="0">
              <a:solidFill>
                <a:srgbClr val="243D7C"/>
              </a:solidFill>
              <a:latin typeface="Arial Narrow" panose="020B0606020202030204" pitchFamily="34" charset="0"/>
            </a:endParaRPr>
          </a:p>
        </p:txBody>
      </p:sp>
      <p:sp>
        <p:nvSpPr>
          <p:cNvPr id="169" name="TextBox 168"/>
          <p:cNvSpPr txBox="1"/>
          <p:nvPr/>
        </p:nvSpPr>
        <p:spPr>
          <a:xfrm>
            <a:off x="2256610" y="817698"/>
            <a:ext cx="9204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>
                <a:solidFill>
                  <a:srgbClr val="243D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упка 25%+1 акции АО «УЭХК»</a:t>
            </a:r>
            <a:endParaRPr lang="ru-RU" sz="800" b="1" dirty="0">
              <a:solidFill>
                <a:srgbClr val="243D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3491210" y="910035"/>
            <a:ext cx="7094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ТЭО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4336737" y="726483"/>
            <a:ext cx="12599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>
                <a:solidFill>
                  <a:srgbClr val="243D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ход на проектную мощность 5,0 млн ЕРР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5910894" y="774671"/>
            <a:ext cx="170737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е производственной программы 5,0 млн ЕРР</a:t>
            </a:r>
          </a:p>
        </p:txBody>
      </p:sp>
      <p:sp>
        <p:nvSpPr>
          <p:cNvPr id="173" name="Объект 3"/>
          <p:cNvSpPr txBox="1">
            <a:spLocks/>
          </p:cNvSpPr>
          <p:nvPr/>
        </p:nvSpPr>
        <p:spPr>
          <a:xfrm>
            <a:off x="5066821" y="535251"/>
            <a:ext cx="1465621" cy="1845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Текущее положение</a:t>
            </a:r>
            <a:endParaRPr lang="en-US" sz="1050" b="1" dirty="0" smtClean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74" name="Объект 3"/>
          <p:cNvSpPr txBox="1">
            <a:spLocks/>
          </p:cNvSpPr>
          <p:nvPr/>
        </p:nvSpPr>
        <p:spPr>
          <a:xfrm>
            <a:off x="5136108" y="1493570"/>
            <a:ext cx="537973" cy="2410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4</a:t>
            </a:r>
          </a:p>
        </p:txBody>
      </p:sp>
      <p:sp>
        <p:nvSpPr>
          <p:cNvPr id="175" name="Isosceles Triangle 40"/>
          <p:cNvSpPr/>
          <p:nvPr/>
        </p:nvSpPr>
        <p:spPr>
          <a:xfrm rot="10800000" flipV="1">
            <a:off x="5329958" y="1375904"/>
            <a:ext cx="131043" cy="149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76" name="Isosceles Triangle 40"/>
          <p:cNvSpPr/>
          <p:nvPr/>
        </p:nvSpPr>
        <p:spPr>
          <a:xfrm rot="10800000" flipV="1">
            <a:off x="6676895" y="1356406"/>
            <a:ext cx="131043" cy="149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77" name="Объект 3"/>
          <p:cNvSpPr txBox="1">
            <a:spLocks/>
          </p:cNvSpPr>
          <p:nvPr/>
        </p:nvSpPr>
        <p:spPr>
          <a:xfrm>
            <a:off x="6207736" y="1478019"/>
            <a:ext cx="1027499" cy="2444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4  - 2043</a:t>
            </a:r>
          </a:p>
        </p:txBody>
      </p:sp>
      <p:sp>
        <p:nvSpPr>
          <p:cNvPr id="178" name="Isosceles Triangle 40"/>
          <p:cNvSpPr/>
          <p:nvPr/>
        </p:nvSpPr>
        <p:spPr>
          <a:xfrm rot="10800000" flipV="1">
            <a:off x="8706179" y="1344768"/>
            <a:ext cx="131043" cy="149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79" name="Объект 3"/>
          <p:cNvSpPr txBox="1">
            <a:spLocks/>
          </p:cNvSpPr>
          <p:nvPr/>
        </p:nvSpPr>
        <p:spPr>
          <a:xfrm>
            <a:off x="8181348" y="1475131"/>
            <a:ext cx="1165424" cy="2539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43</a:t>
            </a:r>
            <a:endParaRPr lang="ru-RU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0" name="Объект 3"/>
          <p:cNvSpPr txBox="1">
            <a:spLocks/>
          </p:cNvSpPr>
          <p:nvPr/>
        </p:nvSpPr>
        <p:spPr>
          <a:xfrm>
            <a:off x="1183126" y="1511702"/>
            <a:ext cx="856058" cy="2652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06</a:t>
            </a:r>
          </a:p>
        </p:txBody>
      </p:sp>
      <p:sp>
        <p:nvSpPr>
          <p:cNvPr id="181" name="Isosceles Triangle 40"/>
          <p:cNvSpPr/>
          <p:nvPr/>
        </p:nvSpPr>
        <p:spPr>
          <a:xfrm rot="10800000" flipV="1">
            <a:off x="1531248" y="1375903"/>
            <a:ext cx="131043" cy="149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82" name="Isosceles Triangle 40"/>
          <p:cNvSpPr/>
          <p:nvPr/>
        </p:nvSpPr>
        <p:spPr>
          <a:xfrm rot="10800000" flipV="1">
            <a:off x="3911863" y="1361783"/>
            <a:ext cx="131043" cy="149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83" name="Объект 3"/>
          <p:cNvSpPr txBox="1">
            <a:spLocks/>
          </p:cNvSpPr>
          <p:nvPr/>
        </p:nvSpPr>
        <p:spPr>
          <a:xfrm>
            <a:off x="3444087" y="1519258"/>
            <a:ext cx="1066593" cy="2203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Ноябрь 2013</a:t>
            </a:r>
            <a:endParaRPr lang="en-US" sz="10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Нашивка 183"/>
          <p:cNvSpPr/>
          <p:nvPr/>
        </p:nvSpPr>
        <p:spPr>
          <a:xfrm>
            <a:off x="3084683" y="772356"/>
            <a:ext cx="1180591" cy="572655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85" name="Isosceles Triangle 40"/>
          <p:cNvSpPr/>
          <p:nvPr/>
        </p:nvSpPr>
        <p:spPr>
          <a:xfrm rot="10800000" flipV="1">
            <a:off x="2845141" y="1370629"/>
            <a:ext cx="131043" cy="14945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86" name="Объект 3"/>
          <p:cNvSpPr txBox="1">
            <a:spLocks/>
          </p:cNvSpPr>
          <p:nvPr/>
        </p:nvSpPr>
        <p:spPr>
          <a:xfrm>
            <a:off x="2338072" y="1518800"/>
            <a:ext cx="1177777" cy="2794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ентябрь 2013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3224568" y="789905"/>
            <a:ext cx="91485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rgbClr val="243D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ажа первой партии ОУП</a:t>
            </a:r>
            <a:endParaRPr lang="ru-RU" sz="900" b="1" dirty="0">
              <a:solidFill>
                <a:srgbClr val="243D7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Нашивка 187"/>
          <p:cNvSpPr/>
          <p:nvPr/>
        </p:nvSpPr>
        <p:spPr>
          <a:xfrm>
            <a:off x="7589847" y="762204"/>
            <a:ext cx="1461091" cy="572655"/>
          </a:xfrm>
          <a:prstGeom prst="chevron">
            <a:avLst/>
          </a:prstGeom>
          <a:solidFill>
            <a:srgbClr val="243D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89" name="Прямая соединительная линия 188"/>
          <p:cNvCxnSpPr/>
          <p:nvPr/>
        </p:nvCxnSpPr>
        <p:spPr>
          <a:xfrm>
            <a:off x="5910893" y="701320"/>
            <a:ext cx="0" cy="70689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190" name="Рисунок 189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661649" y="5188871"/>
            <a:ext cx="883050" cy="13585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Выноска со стрелкой вверх 4"/>
          <p:cNvSpPr/>
          <p:nvPr/>
        </p:nvSpPr>
        <p:spPr>
          <a:xfrm rot="5400000">
            <a:off x="-1019959" y="1684853"/>
            <a:ext cx="3163328" cy="997490"/>
          </a:xfrm>
          <a:prstGeom prst="upArrowCallout">
            <a:avLst>
              <a:gd name="adj1" fmla="val 20661"/>
              <a:gd name="adj2" fmla="val 20661"/>
              <a:gd name="adj3" fmla="val 13610"/>
              <a:gd name="adj4" fmla="val 79078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92" name="Выноска со стрелкой вверх 191"/>
          <p:cNvSpPr/>
          <p:nvPr/>
        </p:nvSpPr>
        <p:spPr>
          <a:xfrm rot="5400000">
            <a:off x="-933192" y="4852314"/>
            <a:ext cx="2978660" cy="997490"/>
          </a:xfrm>
          <a:prstGeom prst="upArrowCallout">
            <a:avLst>
              <a:gd name="adj1" fmla="val 20661"/>
              <a:gd name="adj2" fmla="val 20661"/>
              <a:gd name="adj3" fmla="val 13610"/>
              <a:gd name="adj4" fmla="val 79078"/>
            </a:avLst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60810" y="706345"/>
            <a:ext cx="1015663" cy="294736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ru-RU" b="1" cap="all" dirty="0" smtClean="0">
                <a:solidFill>
                  <a:schemeClr val="tx2"/>
                </a:solidFill>
                <a:latin typeface="Arial Black" panose="020B0A04020102020204" pitchFamily="34" charset="0"/>
              </a:rPr>
              <a:t>Центр обогащение </a:t>
            </a:r>
            <a:r>
              <a:rPr lang="ru-RU" b="1" cap="all" dirty="0">
                <a:solidFill>
                  <a:schemeClr val="tx2"/>
                </a:solidFill>
                <a:latin typeface="Arial Black" panose="020B0A04020102020204" pitchFamily="34" charset="0"/>
              </a:rPr>
              <a:t>урана</a:t>
            </a:r>
          </a:p>
          <a:p>
            <a:pPr algn="ctr"/>
            <a:endParaRPr lang="ru-RU" b="1" dirty="0">
              <a:latin typeface="Arial Black" panose="020B0A04020102020204" pitchFamily="34" charset="0"/>
            </a:endParaRPr>
          </a:p>
        </p:txBody>
      </p:sp>
      <p:sp>
        <p:nvSpPr>
          <p:cNvPr id="193" name="TextBox 192"/>
          <p:cNvSpPr txBox="1"/>
          <p:nvPr/>
        </p:nvSpPr>
        <p:spPr>
          <a:xfrm>
            <a:off x="90596" y="3881054"/>
            <a:ext cx="738664" cy="294736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ru-RU" altLang="ko-KR" b="1" cap="all" dirty="0">
                <a:solidFill>
                  <a:schemeClr val="tx2"/>
                </a:solidFill>
                <a:latin typeface="Arial Black" panose="020B0A04020102020204" pitchFamily="34" charset="0"/>
              </a:rPr>
              <a:t>аффинажный </a:t>
            </a:r>
            <a:r>
              <a:rPr lang="ru-RU" altLang="ko-KR" b="1" cap="all" dirty="0" smtClean="0">
                <a:solidFill>
                  <a:schemeClr val="tx2"/>
                </a:solidFill>
                <a:latin typeface="Arial Black" panose="020B0A04020102020204" pitchFamily="34" charset="0"/>
              </a:rPr>
              <a:t>завод</a:t>
            </a:r>
            <a:endParaRPr lang="ru-RU" b="1" cap="all" dirty="0">
              <a:solidFill>
                <a:schemeClr val="tx2"/>
              </a:solidFill>
              <a:latin typeface="Arial Black" panose="020B0A04020102020204" pitchFamily="34" charset="0"/>
            </a:endParaRPr>
          </a:p>
        </p:txBody>
      </p:sp>
      <p:pic>
        <p:nvPicPr>
          <p:cNvPr id="19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45256" y="1916241"/>
            <a:ext cx="1101049" cy="174035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Прямоугольник 1"/>
          <p:cNvSpPr/>
          <p:nvPr/>
        </p:nvSpPr>
        <p:spPr>
          <a:xfrm>
            <a:off x="7751214" y="760028"/>
            <a:ext cx="128369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вершение проекта (обратная продажа </a:t>
            </a:r>
            <a:r>
              <a:rPr lang="ru-RU" sz="1100" b="1" dirty="0">
                <a:solidFill>
                  <a:schemeClr val="bg1"/>
                </a:solidFill>
                <a:latin typeface="Arial Narrow" panose="020B0606020202030204" pitchFamily="34" charset="0"/>
              </a:rPr>
              <a:t>акций)</a:t>
            </a:r>
          </a:p>
        </p:txBody>
      </p:sp>
    </p:spTree>
    <p:extLst>
      <p:ext uri="{BB962C8B-B14F-4D97-AF65-F5344CB8AC3E}">
        <p14:creationId xmlns:p14="http://schemas.microsoft.com/office/powerpoint/2010/main" xmlns="" val="2352416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2201479" y="3022101"/>
            <a:ext cx="292328" cy="3261775"/>
            <a:chOff x="2311860" y="2979869"/>
            <a:chExt cx="176701" cy="4004317"/>
          </a:xfrm>
        </p:grpSpPr>
        <p:sp useBgFill="1">
          <p:nvSpPr>
            <p:cNvPr id="6" name="Прямоугольник 5"/>
            <p:cNvSpPr/>
            <p:nvPr/>
          </p:nvSpPr>
          <p:spPr>
            <a:xfrm>
              <a:off x="2311860" y="3064338"/>
              <a:ext cx="176701" cy="3835380"/>
            </a:xfrm>
            <a:prstGeom prst="rect">
              <a:avLst/>
            </a:prstGeom>
            <a:ln>
              <a:noFill/>
            </a:ln>
            <a:effectLst>
              <a:outerShdw blurRad="190500" dist="127000" dir="10800000" algn="r" rotWithShape="0">
                <a:prstClr val="black">
                  <a:alpha val="5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2053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 useBgFill="1">
          <p:nvSpPr>
            <p:cNvPr id="7" name="Прямоугольник 6"/>
            <p:cNvSpPr/>
            <p:nvPr/>
          </p:nvSpPr>
          <p:spPr>
            <a:xfrm>
              <a:off x="2311860" y="6624585"/>
              <a:ext cx="176701" cy="359601"/>
            </a:xfrm>
            <a:prstGeom prst="rect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2053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 useBgFill="1">
          <p:nvSpPr>
            <p:cNvPr id="8" name="Прямоугольник 7"/>
            <p:cNvSpPr/>
            <p:nvPr/>
          </p:nvSpPr>
          <p:spPr>
            <a:xfrm>
              <a:off x="2311860" y="2979869"/>
              <a:ext cx="176701" cy="359601"/>
            </a:xfrm>
            <a:prstGeom prst="rect">
              <a:avLst/>
            </a:prstGeom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2053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" name="Прямоугольник с двумя скругленными соседними углами 10"/>
          <p:cNvSpPr/>
          <p:nvPr/>
        </p:nvSpPr>
        <p:spPr>
          <a:xfrm rot="16200000">
            <a:off x="585900" y="2720811"/>
            <a:ext cx="1179625" cy="1744330"/>
          </a:xfrm>
          <a:prstGeom prst="round2SameRect">
            <a:avLst/>
          </a:prstGeom>
          <a:solidFill>
            <a:srgbClr val="243D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с двумя скругленными соседними углами 11"/>
          <p:cNvSpPr/>
          <p:nvPr/>
        </p:nvSpPr>
        <p:spPr>
          <a:xfrm rot="16200000">
            <a:off x="857436" y="4658891"/>
            <a:ext cx="634899" cy="1744331"/>
          </a:xfrm>
          <a:prstGeom prst="round2Same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с двумя скругленными соседними углами 12"/>
          <p:cNvSpPr/>
          <p:nvPr/>
        </p:nvSpPr>
        <p:spPr>
          <a:xfrm rot="16200000">
            <a:off x="799691" y="3827564"/>
            <a:ext cx="750384" cy="1744329"/>
          </a:xfrm>
          <a:prstGeom prst="round2SameRect">
            <a:avLst/>
          </a:prstGeom>
          <a:solidFill>
            <a:srgbClr val="64646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256870" y="3012575"/>
            <a:ext cx="1790178" cy="1061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altLang="ko-KR" sz="900" b="1" dirty="0">
                <a:solidFill>
                  <a:srgbClr val="F7A700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Стоимость проекта:</a:t>
            </a:r>
          </a:p>
          <a:p>
            <a:pPr algn="r">
              <a:defRPr/>
            </a:pPr>
            <a:r>
              <a:rPr lang="ru-RU" altLang="ko-KR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8 968 </a:t>
            </a:r>
            <a:r>
              <a:rPr lang="ru-RU" altLang="ko-KR" sz="9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лн.тг</a:t>
            </a:r>
            <a:r>
              <a:rPr lang="ru-RU" altLang="ko-KR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en-US" altLang="ko-KR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altLang="ko-KR" sz="9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r">
              <a:defRPr/>
            </a:pPr>
            <a:r>
              <a:rPr lang="ru-RU" altLang="ko-KR" sz="900" b="1" dirty="0">
                <a:solidFill>
                  <a:srgbClr val="F7A700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Схема финансирования:</a:t>
            </a:r>
            <a:endParaRPr lang="en-US" altLang="ko-KR" sz="900" b="1" dirty="0">
              <a:solidFill>
                <a:srgbClr val="F7A700"/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  <a:p>
            <a:pPr algn="r">
              <a:defRPr/>
            </a:pPr>
            <a:r>
              <a:rPr lang="ru-RU" altLang="ko-KR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0% (</a:t>
            </a:r>
            <a:r>
              <a:rPr lang="ru-RU" altLang="ko-KR" sz="9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обст</a:t>
            </a:r>
            <a:r>
              <a:rPr lang="ru-RU" altLang="ko-KR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) / 70% (заем.)</a:t>
            </a:r>
          </a:p>
          <a:p>
            <a:pPr algn="r">
              <a:defRPr/>
            </a:pPr>
            <a:r>
              <a:rPr lang="ru-RU" altLang="ko-KR" sz="900" b="1" dirty="0">
                <a:solidFill>
                  <a:srgbClr val="F7A700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Финансирование:</a:t>
            </a:r>
            <a:endParaRPr lang="en-US" altLang="ko-KR" sz="900" b="1" dirty="0">
              <a:solidFill>
                <a:srgbClr val="F7A700"/>
              </a:solidFill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  <a:p>
            <a:pPr algn="r">
              <a:defRPr/>
            </a:pPr>
            <a:r>
              <a:rPr lang="ru-RU" altLang="ko-KR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АО «УМЗ» - 7 158,88 </a:t>
            </a:r>
            <a:r>
              <a:rPr lang="ru-RU" altLang="ko-KR" sz="9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лн.тг</a:t>
            </a:r>
            <a:r>
              <a:rPr lang="ru-RU" altLang="ko-KR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algn="r">
              <a:defRPr/>
            </a:pPr>
            <a:r>
              <a:rPr lang="en-US" altLang="ko-KR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GNPC - 6 878,14 </a:t>
            </a:r>
            <a:r>
              <a:rPr lang="ru-RU" altLang="ko-KR" sz="90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лн.тг</a:t>
            </a:r>
            <a:r>
              <a:rPr lang="ru-RU" altLang="ko-KR" sz="9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grpSp>
        <p:nvGrpSpPr>
          <p:cNvPr id="15" name="그룹 37"/>
          <p:cNvGrpSpPr>
            <a:grpSpLocks noChangeAspect="1"/>
          </p:cNvGrpSpPr>
          <p:nvPr/>
        </p:nvGrpSpPr>
        <p:grpSpPr>
          <a:xfrm>
            <a:off x="327298" y="4376683"/>
            <a:ext cx="1719750" cy="762773"/>
            <a:chOff x="442765" y="3135591"/>
            <a:chExt cx="1853591" cy="890801"/>
          </a:xfrm>
          <a:effectLst/>
        </p:grpSpPr>
        <p:sp>
          <p:nvSpPr>
            <p:cNvPr id="16" name="TextBox 15"/>
            <p:cNvSpPr txBox="1"/>
            <p:nvPr/>
          </p:nvSpPr>
          <p:spPr bwMode="auto">
            <a:xfrm>
              <a:off x="825767" y="3135591"/>
              <a:ext cx="1470589" cy="8908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07386" indent="-207386" algn="r">
                <a:defRPr/>
              </a:pPr>
              <a:r>
                <a:rPr lang="ru-RU" altLang="ko-KR" sz="1089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 107,6 </a:t>
              </a:r>
              <a:r>
                <a:rPr lang="ru-RU" altLang="ko-KR" sz="1089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млн.тг</a:t>
              </a:r>
              <a:r>
                <a:rPr lang="ru-RU" altLang="ko-KR" sz="1089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.</a:t>
              </a:r>
              <a:endParaRPr lang="en-US" altLang="ko-KR" sz="1089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  <a:p>
              <a:pPr marL="207386" indent="-207386" algn="r">
                <a:defRPr/>
              </a:pPr>
              <a:r>
                <a:rPr lang="ru-RU" altLang="ko-KR" sz="1089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5,48%</a:t>
              </a:r>
            </a:p>
            <a:p>
              <a:pPr marL="207386" indent="-207386" algn="r">
                <a:defRPr/>
              </a:pPr>
              <a:r>
                <a:rPr lang="ru-RU" altLang="ko-KR" sz="1089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4,3 лет</a:t>
              </a:r>
            </a:p>
          </p:txBody>
        </p:sp>
        <p:sp>
          <p:nvSpPr>
            <p:cNvPr id="17" name="TextBox 16"/>
            <p:cNvSpPr txBox="1">
              <a:spLocks noChangeArrowheads="1"/>
            </p:cNvSpPr>
            <p:nvPr/>
          </p:nvSpPr>
          <p:spPr bwMode="auto">
            <a:xfrm>
              <a:off x="442765" y="3148799"/>
              <a:ext cx="732863" cy="6950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altLang="ko-KR" sz="1089" b="1" dirty="0">
                  <a:latin typeface="Arial" panose="020B0604020202020204" pitchFamily="34" charset="0"/>
                  <a:ea typeface="맑은 고딕" pitchFamily="50" charset="-127"/>
                  <a:cs typeface="Arial" panose="020B0604020202020204" pitchFamily="34" charset="0"/>
                </a:rPr>
                <a:t>NPV</a:t>
              </a:r>
              <a:r>
                <a:rPr lang="ru-RU" altLang="ko-KR" sz="1089" b="1" dirty="0">
                  <a:latin typeface="Arial" panose="020B0604020202020204" pitchFamily="34" charset="0"/>
                  <a:ea typeface="맑은 고딕" pitchFamily="50" charset="-127"/>
                  <a:cs typeface="Arial" panose="020B0604020202020204" pitchFamily="34" charset="0"/>
                </a:rPr>
                <a:t> :</a:t>
              </a:r>
            </a:p>
            <a:p>
              <a:pPr>
                <a:defRPr/>
              </a:pPr>
              <a:r>
                <a:rPr lang="en-US" altLang="ko-KR" sz="1089" b="1" dirty="0">
                  <a:latin typeface="Arial" panose="020B0604020202020204" pitchFamily="34" charset="0"/>
                  <a:ea typeface="맑은 고딕" pitchFamily="50" charset="-127"/>
                  <a:cs typeface="Arial" panose="020B0604020202020204" pitchFamily="34" charset="0"/>
                </a:rPr>
                <a:t>IRR :</a:t>
              </a:r>
            </a:p>
            <a:p>
              <a:pPr>
                <a:defRPr/>
              </a:pPr>
              <a:r>
                <a:rPr lang="en-US" altLang="ko-KR" sz="1089" b="1" dirty="0">
                  <a:latin typeface="Arial" panose="020B0604020202020204" pitchFamily="34" charset="0"/>
                  <a:ea typeface="맑은 고딕" pitchFamily="50" charset="-127"/>
                  <a:cs typeface="Arial" panose="020B0604020202020204" pitchFamily="34" charset="0"/>
                </a:rPr>
                <a:t>DPP :</a:t>
              </a:r>
            </a:p>
          </p:txBody>
        </p:sp>
      </p:grpSp>
      <p:sp>
        <p:nvSpPr>
          <p:cNvPr id="18" name="TextBox 17"/>
          <p:cNvSpPr txBox="1">
            <a:spLocks noChangeArrowheads="1"/>
          </p:cNvSpPr>
          <p:nvPr/>
        </p:nvSpPr>
        <p:spPr bwMode="auto">
          <a:xfrm>
            <a:off x="327298" y="5295560"/>
            <a:ext cx="1719750" cy="427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altLang="ko-KR" sz="1089" b="1" dirty="0">
                <a:solidFill>
                  <a:srgbClr val="243D7C"/>
                </a:solidFill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Освоение:</a:t>
            </a:r>
          </a:p>
          <a:p>
            <a:pPr algn="r">
              <a:defRPr/>
            </a:pPr>
            <a:r>
              <a:rPr lang="ru-RU" altLang="ko-KR" sz="1089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 561,9 </a:t>
            </a:r>
            <a:r>
              <a:rPr lang="ru-RU" altLang="ko-KR" sz="1089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лн.тг</a:t>
            </a:r>
            <a:endParaRPr lang="ru-RU" altLang="ko-KR" sz="1089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Прямоугольник 18"/>
          <p:cNvSpPr>
            <a:spLocks noChangeAspect="1"/>
          </p:cNvSpPr>
          <p:nvPr/>
        </p:nvSpPr>
        <p:spPr>
          <a:xfrm>
            <a:off x="310761" y="5369442"/>
            <a:ext cx="582839" cy="30777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algn="ctr">
              <a:spcAft>
                <a:spcPts val="544"/>
              </a:spcAft>
            </a:pP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%</a:t>
            </a:r>
          </a:p>
        </p:txBody>
      </p:sp>
      <p:sp>
        <p:nvSpPr>
          <p:cNvPr id="20" name="막힌 원호 4"/>
          <p:cNvSpPr>
            <a:spLocks noChangeAspect="1"/>
          </p:cNvSpPr>
          <p:nvPr/>
        </p:nvSpPr>
        <p:spPr>
          <a:xfrm rot="16200000">
            <a:off x="284451" y="5230249"/>
            <a:ext cx="644106" cy="601070"/>
          </a:xfrm>
          <a:prstGeom prst="blockArc">
            <a:avLst>
              <a:gd name="adj1" fmla="val 10800000"/>
              <a:gd name="adj2" fmla="val 10800000"/>
              <a:gd name="adj3" fmla="val 15490"/>
            </a:avLst>
          </a:prstGeom>
          <a:gradFill>
            <a:gsLst>
              <a:gs pos="0">
                <a:schemeClr val="bg1">
                  <a:lumMod val="50000"/>
                </a:schemeClr>
              </a:gs>
              <a:gs pos="80000">
                <a:schemeClr val="bg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1" name="막힌 원호 6"/>
          <p:cNvSpPr>
            <a:spLocks noChangeAspect="1"/>
          </p:cNvSpPr>
          <p:nvPr/>
        </p:nvSpPr>
        <p:spPr>
          <a:xfrm rot="5400000" flipH="1">
            <a:off x="217156" y="5144364"/>
            <a:ext cx="770047" cy="653780"/>
          </a:xfrm>
          <a:prstGeom prst="blockArc">
            <a:avLst>
              <a:gd name="adj1" fmla="val 7744428"/>
              <a:gd name="adj2" fmla="val 10675621"/>
              <a:gd name="adj3" fmla="val 17751"/>
            </a:avLst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TextBox 22"/>
          <p:cNvSpPr txBox="1">
            <a:spLocks noChangeAspect="1"/>
          </p:cNvSpPr>
          <p:nvPr/>
        </p:nvSpPr>
        <p:spPr>
          <a:xfrm>
            <a:off x="2190750" y="2981142"/>
            <a:ext cx="5476678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altLang="ko-KR" sz="1600" b="1" cap="all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раткое описание и цели проекта:</a:t>
            </a:r>
          </a:p>
          <a:p>
            <a:pPr marL="155539" indent="-155539" algn="just">
              <a:buFont typeface="Arial" panose="020B0604020202020204" pitchFamily="34" charset="0"/>
              <a:buChar char="•"/>
            </a:pPr>
            <a:r>
              <a:rPr lang="ru-RU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Организация производства тепловыделяющих сборок (ТВС) на базе АО «УМЗ» мощностью 200 тонн в год. 100% выпускаемой продукции (ТВС) планируется реализовывать на внешнем рынке (КНР). </a:t>
            </a:r>
          </a:p>
          <a:p>
            <a:pPr marL="161300" algn="just"/>
            <a:r>
              <a:rPr lang="ru-RU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При этом предусмотрена реализации проекта с компанией </a:t>
            </a:r>
            <a:r>
              <a:rPr lang="en-US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CGNPC </a:t>
            </a:r>
            <a:r>
              <a:rPr lang="ru-RU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по совместной добыче урана на территории РК.</a:t>
            </a:r>
          </a:p>
          <a:p>
            <a:pPr marL="155539" indent="-155539" algn="just">
              <a:buFont typeface="Arial" panose="020B0604020202020204" pitchFamily="34" charset="0"/>
              <a:buChar char="•"/>
            </a:pPr>
            <a:r>
              <a:rPr lang="ru-RU" altLang="ko-K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Реализация проекта позволит увеличить доход на единицу добытого урана, за счет увеличения глубины переработки; выйти на мировой ядерно-топливный рынок; загрузить мощности АО «УМЗ» по производству топливных таблеток</a:t>
            </a:r>
            <a:r>
              <a:rPr lang="ru-RU" altLang="ko-K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altLang="ko-KR" sz="1600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6200000" flipV="1">
            <a:off x="6753418" y="3943434"/>
            <a:ext cx="3151776" cy="1316757"/>
          </a:xfrm>
          <a:prstGeom prst="rect">
            <a:avLst/>
          </a:prstGeom>
        </p:spPr>
      </p:pic>
      <p:sp>
        <p:nvSpPr>
          <p:cNvPr id="29" name="Пятиугольник 28"/>
          <p:cNvSpPr/>
          <p:nvPr/>
        </p:nvSpPr>
        <p:spPr>
          <a:xfrm>
            <a:off x="192690" y="1166496"/>
            <a:ext cx="1045742" cy="804975"/>
          </a:xfrm>
          <a:prstGeom prst="homePlate">
            <a:avLst/>
          </a:prstGeom>
          <a:solidFill>
            <a:srgbClr val="F7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89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Нашивка 29"/>
          <p:cNvSpPr/>
          <p:nvPr/>
        </p:nvSpPr>
        <p:spPr>
          <a:xfrm>
            <a:off x="973289" y="1172151"/>
            <a:ext cx="1572050" cy="804975"/>
          </a:xfrm>
          <a:prstGeom prst="chevron">
            <a:avLst/>
          </a:prstGeom>
          <a:solidFill>
            <a:srgbClr val="F7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89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Нашивка 30"/>
          <p:cNvSpPr/>
          <p:nvPr/>
        </p:nvSpPr>
        <p:spPr>
          <a:xfrm>
            <a:off x="2290978" y="1181563"/>
            <a:ext cx="1165184" cy="804975"/>
          </a:xfrm>
          <a:prstGeom prst="chevron">
            <a:avLst/>
          </a:prstGeom>
          <a:solidFill>
            <a:srgbClr val="646464"/>
          </a:solidFill>
          <a:ln w="285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араллелограмм 33"/>
          <p:cNvSpPr/>
          <p:nvPr/>
        </p:nvSpPr>
        <p:spPr>
          <a:xfrm flipV="1">
            <a:off x="4143653" y="1180239"/>
            <a:ext cx="3118966" cy="379536"/>
          </a:xfrm>
          <a:prstGeom prst="parallelogram">
            <a:avLst>
              <a:gd name="adj" fmla="val 103006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Нашивка 35"/>
          <p:cNvSpPr/>
          <p:nvPr/>
        </p:nvSpPr>
        <p:spPr>
          <a:xfrm>
            <a:off x="6940132" y="1176755"/>
            <a:ext cx="916616" cy="804975"/>
          </a:xfrm>
          <a:prstGeom prst="chevron">
            <a:avLst/>
          </a:prstGeom>
          <a:solidFill>
            <a:srgbClr val="243D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араллелограмм 36"/>
          <p:cNvSpPr/>
          <p:nvPr/>
        </p:nvSpPr>
        <p:spPr>
          <a:xfrm>
            <a:off x="4140160" y="1606524"/>
            <a:ext cx="1769725" cy="379536"/>
          </a:xfrm>
          <a:prstGeom prst="parallelogram">
            <a:avLst>
              <a:gd name="adj" fmla="val 103006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Нашивка 37"/>
          <p:cNvSpPr/>
          <p:nvPr/>
        </p:nvSpPr>
        <p:spPr>
          <a:xfrm>
            <a:off x="3195154" y="1181563"/>
            <a:ext cx="1199297" cy="804975"/>
          </a:xfrm>
          <a:prstGeom prst="chevron">
            <a:avLst/>
          </a:prstGeom>
          <a:solidFill>
            <a:srgbClr val="646464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араллелограмм 38"/>
          <p:cNvSpPr/>
          <p:nvPr/>
        </p:nvSpPr>
        <p:spPr>
          <a:xfrm>
            <a:off x="5606378" y="1606524"/>
            <a:ext cx="1656240" cy="379536"/>
          </a:xfrm>
          <a:prstGeom prst="parallelogram">
            <a:avLst>
              <a:gd name="adj" fmla="val 103006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Нашивка 39"/>
          <p:cNvSpPr/>
          <p:nvPr/>
        </p:nvSpPr>
        <p:spPr>
          <a:xfrm>
            <a:off x="7503577" y="1167503"/>
            <a:ext cx="875230" cy="804975"/>
          </a:xfrm>
          <a:prstGeom prst="chevron">
            <a:avLst/>
          </a:prstGeom>
          <a:solidFill>
            <a:srgbClr val="243D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Нашивка 40"/>
          <p:cNvSpPr/>
          <p:nvPr/>
        </p:nvSpPr>
        <p:spPr>
          <a:xfrm>
            <a:off x="8008340" y="1174800"/>
            <a:ext cx="979345" cy="804975"/>
          </a:xfrm>
          <a:prstGeom prst="chevron">
            <a:avLst/>
          </a:prstGeom>
          <a:solidFill>
            <a:srgbClr val="243D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33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4324" y="1346454"/>
            <a:ext cx="11157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243D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ициация проекта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069511" y="1319690"/>
            <a:ext cx="15852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243D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варительное ТЭО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292579" y="1409979"/>
            <a:ext cx="11157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ЭО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339817" y="1408515"/>
            <a:ext cx="10418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Д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837968" y="1196823"/>
            <a:ext cx="14768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138971" y="1609115"/>
            <a:ext cx="15892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упка оборудования, СМР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769346" y="1588622"/>
            <a:ext cx="12087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од в эксплуатацию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992064" y="1312607"/>
            <a:ext cx="19956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F7A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вод на рабочий</a:t>
            </a:r>
          </a:p>
          <a:p>
            <a:pPr algn="ctr"/>
            <a:r>
              <a:rPr lang="ru-RU" sz="1200" b="1" dirty="0">
                <a:solidFill>
                  <a:srgbClr val="F7A7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</a:t>
            </a:r>
            <a:endParaRPr lang="en-US" sz="1200" b="1" dirty="0">
              <a:solidFill>
                <a:srgbClr val="F7A7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Объект 3"/>
          <p:cNvSpPr txBox="1">
            <a:spLocks/>
          </p:cNvSpPr>
          <p:nvPr/>
        </p:nvSpPr>
        <p:spPr>
          <a:xfrm>
            <a:off x="1780411" y="880656"/>
            <a:ext cx="1599567" cy="292524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положение</a:t>
            </a:r>
            <a:endParaRPr lang="en-US" sz="105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Объект 3"/>
          <p:cNvSpPr txBox="1">
            <a:spLocks/>
          </p:cNvSpPr>
          <p:nvPr/>
        </p:nvSpPr>
        <p:spPr>
          <a:xfrm>
            <a:off x="3453800" y="2184435"/>
            <a:ext cx="1346211" cy="255533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Май</a:t>
            </a:r>
          </a:p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54" name="Isosceles Triangle 40"/>
          <p:cNvSpPr/>
          <p:nvPr/>
        </p:nvSpPr>
        <p:spPr>
          <a:xfrm rot="10800000" flipV="1">
            <a:off x="5435209" y="2005436"/>
            <a:ext cx="206074" cy="210083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Объект 3"/>
          <p:cNvSpPr txBox="1">
            <a:spLocks/>
          </p:cNvSpPr>
          <p:nvPr/>
        </p:nvSpPr>
        <p:spPr>
          <a:xfrm>
            <a:off x="4859392" y="2193959"/>
            <a:ext cx="1346211" cy="255533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юль</a:t>
            </a:r>
          </a:p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Isosceles Triangle 40"/>
          <p:cNvSpPr/>
          <p:nvPr/>
        </p:nvSpPr>
        <p:spPr>
          <a:xfrm rot="10800000" flipV="1">
            <a:off x="4018411" y="2019228"/>
            <a:ext cx="206074" cy="210083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Isosceles Triangle 40"/>
          <p:cNvSpPr/>
          <p:nvPr/>
        </p:nvSpPr>
        <p:spPr>
          <a:xfrm rot="10800000" flipV="1">
            <a:off x="6889027" y="1998924"/>
            <a:ext cx="206074" cy="210083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Объект 3"/>
          <p:cNvSpPr txBox="1">
            <a:spLocks/>
          </p:cNvSpPr>
          <p:nvPr/>
        </p:nvSpPr>
        <p:spPr>
          <a:xfrm>
            <a:off x="6336034" y="2160714"/>
            <a:ext cx="1346211" cy="255533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арт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Isosceles Triangle 40"/>
          <p:cNvSpPr/>
          <p:nvPr/>
        </p:nvSpPr>
        <p:spPr>
          <a:xfrm rot="10800000" flipV="1">
            <a:off x="7787317" y="2005243"/>
            <a:ext cx="206074" cy="210083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Объект 3"/>
          <p:cNvSpPr txBox="1">
            <a:spLocks/>
          </p:cNvSpPr>
          <p:nvPr/>
        </p:nvSpPr>
        <p:spPr>
          <a:xfrm>
            <a:off x="7331448" y="2193959"/>
            <a:ext cx="1145124" cy="466905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кабрь 2020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ыпуск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вой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одукции</a:t>
            </a:r>
          </a:p>
        </p:txBody>
      </p:sp>
      <p:sp>
        <p:nvSpPr>
          <p:cNvPr id="65" name="Объект 3"/>
          <p:cNvSpPr txBox="1">
            <a:spLocks/>
          </p:cNvSpPr>
          <p:nvPr/>
        </p:nvSpPr>
        <p:spPr>
          <a:xfrm>
            <a:off x="135597" y="2221722"/>
            <a:ext cx="1346211" cy="255533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16" b="1" dirty="0">
                <a:latin typeface="Arial" panose="020B0604020202020204" pitchFamily="34" charset="0"/>
                <a:cs typeface="Arial" panose="020B0604020202020204" pitchFamily="34" charset="0"/>
              </a:rPr>
              <a:t>Февраль</a:t>
            </a:r>
          </a:p>
          <a:p>
            <a:pPr algn="ctr"/>
            <a:r>
              <a:rPr lang="ru-RU" sz="816" b="1" dirty="0">
                <a:latin typeface="Arial" panose="020B0604020202020204" pitchFamily="34" charset="0"/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66" name="Isosceles Triangle 40"/>
          <p:cNvSpPr/>
          <p:nvPr/>
        </p:nvSpPr>
        <p:spPr>
          <a:xfrm rot="10800000" flipV="1">
            <a:off x="700965" y="1988950"/>
            <a:ext cx="206074" cy="210083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Isosceles Triangle 40"/>
          <p:cNvSpPr/>
          <p:nvPr/>
        </p:nvSpPr>
        <p:spPr>
          <a:xfrm rot="10800000" flipV="1">
            <a:off x="2929594" y="1996615"/>
            <a:ext cx="206074" cy="210083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Объект 3"/>
          <p:cNvSpPr txBox="1">
            <a:spLocks/>
          </p:cNvSpPr>
          <p:nvPr/>
        </p:nvSpPr>
        <p:spPr>
          <a:xfrm>
            <a:off x="2408092" y="2203714"/>
            <a:ext cx="1267627" cy="522594"/>
          </a:xfrm>
          <a:prstGeom prst="rect">
            <a:avLst/>
          </a:prstGeom>
        </p:spPr>
        <p:txBody>
          <a:bodyPr vert="horz" lIns="82953" tIns="41476" rIns="82953" bIns="41476" rtlCol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16" b="1" dirty="0">
                <a:latin typeface="Arial" panose="020B0604020202020204" pitchFamily="34" charset="0"/>
                <a:cs typeface="Arial" panose="020B0604020202020204" pitchFamily="34" charset="0"/>
              </a:rPr>
              <a:t>15.06.2016</a:t>
            </a:r>
          </a:p>
          <a:p>
            <a:pPr algn="ctr"/>
            <a:r>
              <a:rPr lang="ru-RU" sz="816" dirty="0">
                <a:latin typeface="Arial" panose="020B0604020202020204" pitchFamily="34" charset="0"/>
                <a:cs typeface="Arial" panose="020B0604020202020204" pitchFamily="34" charset="0"/>
              </a:rPr>
              <a:t>Решение СД</a:t>
            </a:r>
          </a:p>
          <a:p>
            <a:pPr algn="ctr"/>
            <a:r>
              <a:rPr lang="ru-RU" sz="816" dirty="0">
                <a:latin typeface="Arial" panose="020B0604020202020204" pitchFamily="34" charset="0"/>
                <a:cs typeface="Arial" panose="020B0604020202020204" pitchFamily="34" charset="0"/>
              </a:rPr>
              <a:t>об утверждении ТЭО</a:t>
            </a:r>
            <a:endParaRPr lang="en-US" sz="816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872060" y="329948"/>
            <a:ext cx="288862" cy="3157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52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cxnSp>
        <p:nvCxnSpPr>
          <p:cNvPr id="72" name="Соединительная линия уступом 71"/>
          <p:cNvCxnSpPr/>
          <p:nvPr/>
        </p:nvCxnSpPr>
        <p:spPr>
          <a:xfrm rot="10800000">
            <a:off x="3300204" y="1029859"/>
            <a:ext cx="481457" cy="353577"/>
          </a:xfrm>
          <a:prstGeom prst="bentConnector3">
            <a:avLst>
              <a:gd name="adj1" fmla="val -2756"/>
            </a:avLst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/>
          <p:cNvSpPr/>
          <p:nvPr/>
        </p:nvSpPr>
        <p:spPr>
          <a:xfrm>
            <a:off x="0" y="-9023"/>
            <a:ext cx="9144000" cy="778575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cap="all" dirty="0">
                <a:latin typeface="Arial" pitchFamily="34" charset="0"/>
                <a:cs typeface="Arial" pitchFamily="34" charset="0"/>
              </a:rPr>
              <a:t>Проект по производству ядерного топлива 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213" y="6569351"/>
            <a:ext cx="9144000" cy="295334"/>
          </a:xfrm>
          <a:prstGeom prst="rect">
            <a:avLst/>
          </a:prstGeom>
          <a:solidFill>
            <a:schemeClr val="accent1">
              <a:lumMod val="40000"/>
              <a:lumOff val="6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400" dirty="0" smtClean="0">
              <a:solidFill>
                <a:prstClr val="white">
                  <a:lumMod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4072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0" y="6566111"/>
            <a:ext cx="9144000" cy="295334"/>
          </a:xfrm>
          <a:prstGeom prst="rect">
            <a:avLst/>
          </a:prstGeom>
          <a:solidFill>
            <a:schemeClr val="accent1">
              <a:lumMod val="40000"/>
              <a:lumOff val="6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400" dirty="0" smtClean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52483" y="5487969"/>
            <a:ext cx="8722006" cy="919401"/>
          </a:xfrm>
          <a:prstGeom prst="roundRect">
            <a:avLst/>
          </a:prstGeom>
          <a:solidFill>
            <a:schemeClr val="accent6">
              <a:lumMod val="20000"/>
              <a:lumOff val="80000"/>
              <a:alpha val="62000"/>
            </a:schemeClr>
          </a:solidFill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i="1" dirty="0" smtClean="0">
                <a:solidFill>
                  <a:prstClr val="black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Размещение </a:t>
            </a:r>
            <a:r>
              <a:rPr lang="ru-RU" sz="1200" b="1" i="1" dirty="0">
                <a:solidFill>
                  <a:prstClr val="black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Международного банка низкообогащенного урана на территории Казахстана будет способствовать дальнейшему укреплению международного имиджа республики как активного сторонника режима нераспространения и одной из ключевых фигур процесса сокращения глобальной ядерной угрозы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15978" y="944615"/>
            <a:ext cx="8569959" cy="578882"/>
          </a:xfrm>
          <a:prstGeom prst="roundRect">
            <a:avLst/>
          </a:prstGeom>
          <a:solidFill>
            <a:schemeClr val="accent6">
              <a:lumMod val="20000"/>
              <a:lumOff val="80000"/>
              <a:alpha val="60000"/>
            </a:schemeClr>
          </a:solidFill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22.12.2016 принят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Закон Республики </a:t>
            </a:r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Казахстан «О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ратификации Соглашения между Правительством </a:t>
            </a:r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РК и МАГАТЭ о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создании Банка низкообогащенного урана МАГАТЭ в РК</a:t>
            </a:r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».</a:t>
            </a:r>
            <a:endParaRPr lang="ru-RU" sz="1400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1" name="Рисунок 8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2777" y="2032541"/>
            <a:ext cx="1714203" cy="153245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804418" y="3765256"/>
            <a:ext cx="1958480" cy="167147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8" name="Прямоугольник 47"/>
          <p:cNvSpPr/>
          <p:nvPr/>
        </p:nvSpPr>
        <p:spPr>
          <a:xfrm>
            <a:off x="2971955" y="1717113"/>
            <a:ext cx="366697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u="sng" dirty="0" smtClean="0">
                <a:ln w="0"/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МЕРОПРИЯТИЯ 2017 </a:t>
            </a:r>
            <a:r>
              <a:rPr lang="ru-RU" sz="1400" b="1" u="sng" dirty="0">
                <a:ln w="0"/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</a:p>
        </p:txBody>
      </p:sp>
      <p:graphicFrame>
        <p:nvGraphicFramePr>
          <p:cNvPr id="63" name="Таблица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536885148"/>
              </p:ext>
            </p:extLst>
          </p:nvPr>
        </p:nvGraphicFramePr>
        <p:xfrm>
          <a:off x="2709738" y="2352994"/>
          <a:ext cx="4233921" cy="10350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1917"/>
                <a:gridCol w="3382004"/>
              </a:tblGrid>
              <a:tr h="605378">
                <a:tc>
                  <a:txBody>
                    <a:bodyPr/>
                    <a:lstStyle/>
                    <a:p>
                      <a:pPr algn="r"/>
                      <a:r>
                        <a:rPr lang="ru-RU" sz="1200" b="1" u="non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cs typeface="Times New Roman" pitchFamily="18" charset="0"/>
                        </a:rPr>
                        <a:t>Август, 29</a:t>
                      </a:r>
                      <a:endParaRPr lang="ru-RU" sz="1200" b="1" u="none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5" marR="68585" marT="0" marB="0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u="non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cs typeface="Times New Roman" pitchFamily="18" charset="0"/>
                        </a:rPr>
                        <a:t>Открытие</a:t>
                      </a:r>
                      <a:r>
                        <a:rPr lang="ru-RU" sz="1200" b="0" u="none" baseline="0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cs typeface="Times New Roman" pitchFamily="18" charset="0"/>
                        </a:rPr>
                        <a:t> Банка НОУ с участием</a:t>
                      </a:r>
                      <a:r>
                        <a:rPr lang="ru-RU" sz="1200" b="0" u="non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cs typeface="Times New Roman" pitchFamily="18" charset="0"/>
                        </a:rPr>
                        <a:t> Генерального директора МАГАТЭ  Ю. </a:t>
                      </a:r>
                      <a:r>
                        <a:rPr lang="ru-RU" sz="1200" b="0" u="none" dirty="0" err="1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cs typeface="Times New Roman" pitchFamily="18" charset="0"/>
                        </a:rPr>
                        <a:t>Амано</a:t>
                      </a:r>
                      <a:endParaRPr lang="ru-RU" sz="1200" b="0" u="none" dirty="0" smtClean="0">
                        <a:solidFill>
                          <a:srgbClr val="000000"/>
                        </a:solidFill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68585" marR="6858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29698">
                <a:tc>
                  <a:txBody>
                    <a:bodyPr/>
                    <a:lstStyle/>
                    <a:p>
                      <a:pPr algn="r"/>
                      <a:r>
                        <a:rPr lang="ru-RU" sz="1200" b="1" u="none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ентябрь</a:t>
                      </a:r>
                      <a:endParaRPr lang="ru-RU" sz="1200" b="1" u="none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5" marR="68585" marT="0" marB="0" anchor="ctr"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u="none" dirty="0" smtClean="0">
                          <a:solidFill>
                            <a:srgbClr val="000000"/>
                          </a:solidFill>
                          <a:latin typeface="Arial Narrow" panose="020B0606020202030204" pitchFamily="34" charset="0"/>
                          <a:cs typeface="Times New Roman" pitchFamily="18" charset="0"/>
                        </a:rPr>
                        <a:t>Получение разрешения МЭ РК на размещение ядерного материала в Банке НОУ 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5" marR="6858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9" name="Прямоугольник 68"/>
          <p:cNvSpPr/>
          <p:nvPr/>
        </p:nvSpPr>
        <p:spPr>
          <a:xfrm>
            <a:off x="278052" y="1621244"/>
            <a:ext cx="225688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n w="0"/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ВЕДЕТСЯ СОГЛАСНО ГРАФИКУ</a:t>
            </a:r>
            <a:endParaRPr lang="ru-RU" sz="1400" b="1" dirty="0">
              <a:ln w="0"/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15977" y="2352994"/>
            <a:ext cx="2216607" cy="948529"/>
          </a:xfrm>
          <a:prstGeom prst="rect">
            <a:avLst/>
          </a:prstGeom>
          <a:solidFill>
            <a:schemeClr val="accent4">
              <a:lumMod val="20000"/>
              <a:lumOff val="80000"/>
              <a:alpha val="37000"/>
            </a:schemeClr>
          </a:solidFill>
          <a:ln>
            <a:solidFill>
              <a:srgbClr val="800000"/>
            </a:solidFill>
            <a:prstDash val="dash"/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роительные </a:t>
            </a:r>
            <a: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боты завершены на </a:t>
            </a:r>
            <a:endParaRPr lang="ru-RU" sz="1400" b="1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0%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15024" y="4111035"/>
            <a:ext cx="2217620" cy="1080296"/>
          </a:xfrm>
          <a:prstGeom prst="rect">
            <a:avLst/>
          </a:prstGeom>
          <a:solidFill>
            <a:schemeClr val="accent6">
              <a:lumMod val="20000"/>
              <a:lumOff val="80000"/>
              <a:alpha val="40000"/>
            </a:schemeClr>
          </a:solidFill>
          <a:ln>
            <a:solidFill>
              <a:srgbClr val="800000"/>
            </a:solidFill>
            <a:prstDash val="dash"/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дача объекта  </a:t>
            </a:r>
            <a:endParaRPr lang="ru-RU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юнь 2017 г.</a:t>
            </a: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050" b="1" i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Приемка Государственной комиссией РК)</a:t>
            </a:r>
            <a:endParaRPr lang="ru-RU" sz="1050" b="1" i="1" dirty="0">
              <a:solidFill>
                <a:srgbClr val="C0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17903" y="3765256"/>
            <a:ext cx="1856638" cy="16387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2777" y="3768486"/>
            <a:ext cx="1781049" cy="163626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" name="Прямоугольник 17"/>
          <p:cNvSpPr/>
          <p:nvPr/>
        </p:nvSpPr>
        <p:spPr>
          <a:xfrm>
            <a:off x="0" y="0"/>
            <a:ext cx="9144000" cy="88710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cap="all" dirty="0">
                <a:latin typeface="Arial" pitchFamily="34" charset="0"/>
                <a:cs typeface="Arial" pitchFamily="34" charset="0"/>
              </a:rPr>
              <a:t>Создание МБНОУ</a:t>
            </a:r>
          </a:p>
        </p:txBody>
      </p:sp>
    </p:spTree>
    <p:extLst>
      <p:ext uri="{BB962C8B-B14F-4D97-AF65-F5344CB8AC3E}">
        <p14:creationId xmlns:p14="http://schemas.microsoft.com/office/powerpoint/2010/main" xmlns="" val="455927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24601" y="1001877"/>
            <a:ext cx="41882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0" y="6568066"/>
            <a:ext cx="9144000" cy="295334"/>
          </a:xfrm>
          <a:prstGeom prst="rect">
            <a:avLst/>
          </a:prstGeom>
          <a:solidFill>
            <a:schemeClr val="accent1">
              <a:lumMod val="40000"/>
              <a:lumOff val="6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400" dirty="0" smtClean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99798" y="1073530"/>
            <a:ext cx="1816034" cy="92045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979964" y="1005948"/>
            <a:ext cx="582273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23600">
              <a:defRPr/>
            </a:pPr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Казахстан награжден за вклад в поддержание режима нераспространения ядерного оружия и укрепление глобальной ядерной </a:t>
            </a: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безопасности, а </a:t>
            </a:r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также за размещение Международного Банка ядерного </a:t>
            </a: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топлива для государств-членов МАГАТЭ</a:t>
            </a:r>
            <a:endParaRPr lang="ru-RU" sz="1600" b="1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979964" y="5278518"/>
            <a:ext cx="58227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23600">
              <a:defRPr/>
            </a:pPr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В День индустриализации состоялся запуск строительства завода по производству топлива для атомных станций с участием международных компаний. Запуск </a:t>
            </a: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завода запланирован </a:t>
            </a:r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на 2020 </a:t>
            </a: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год</a:t>
            </a:r>
            <a:endParaRPr lang="ru-RU" sz="1600" b="1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5400000">
            <a:off x="924462" y="4575509"/>
            <a:ext cx="998689" cy="2466617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275054" y="4020812"/>
            <a:ext cx="8527641" cy="830997"/>
            <a:chOff x="366738" y="2493130"/>
            <a:chExt cx="11370188" cy="830997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3973286" y="2493130"/>
              <a:ext cx="776364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823600">
                <a:defRPr/>
              </a:pPr>
              <a:r>
                <a:rPr lang="ru-RU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Подписаны</a:t>
              </a:r>
              <a:r>
                <a:rPr lang="ru-RU" sz="1600" dirty="0"/>
                <a:t> </a:t>
              </a:r>
              <a:r>
                <a:rPr lang="ru-RU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документы по дальнейшему углублению взаимовыгодного сотрудничества в атомной отрасли с российскими и канадскими партнерами</a:t>
              </a:r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395785" y="2581846"/>
              <a:ext cx="1503613" cy="742281"/>
            </a:xfrm>
            <a:prstGeom prst="rect">
              <a:avLst/>
            </a:prstGeom>
          </p:spPr>
        </p:pic>
        <p:pic>
          <p:nvPicPr>
            <p:cNvPr id="17" name="Picture 4" descr="Image result">
              <a:hlinkClick r:id="rId5"/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22922" t="19308" r="25890" b="16088"/>
            <a:stretch/>
          </p:blipFill>
          <p:spPr bwMode="auto">
            <a:xfrm>
              <a:off x="2899398" y="2578324"/>
              <a:ext cx="643423" cy="667587"/>
            </a:xfrm>
            <a:prstGeom prst="rect">
              <a:avLst/>
            </a:prstGeom>
            <a:noFill/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66738" y="2626788"/>
              <a:ext cx="1029047" cy="608053"/>
            </a:xfrm>
            <a:prstGeom prst="rect">
              <a:avLst/>
            </a:prstGeom>
          </p:spPr>
        </p:pic>
      </p:grpSp>
      <p:grpSp>
        <p:nvGrpSpPr>
          <p:cNvPr id="5" name="Группа 4"/>
          <p:cNvGrpSpPr/>
          <p:nvPr/>
        </p:nvGrpSpPr>
        <p:grpSpPr>
          <a:xfrm>
            <a:off x="757544" y="2377256"/>
            <a:ext cx="8045151" cy="1154443"/>
            <a:chOff x="1010059" y="3720354"/>
            <a:chExt cx="10726867" cy="1154443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3973287" y="3787007"/>
              <a:ext cx="7763639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823600">
                <a:defRPr/>
              </a:pPr>
              <a:r>
                <a:rPr lang="ru-RU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На IV Саммита по ядерной безопасности в г. Вашингтон при ОНН был озвучен Манифест «Мир.</a:t>
              </a:r>
              <a:r>
                <a:rPr lang="en-US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XXI </a:t>
              </a:r>
              <a:r>
                <a:rPr lang="ru-RU" sz="16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век» вышедшим под авторством Президента РК, которому был присвоен статус официального документа </a:t>
              </a:r>
              <a:r>
                <a:rPr lang="ru-RU" sz="16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ООН</a:t>
              </a:r>
              <a:endPara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10059" y="3720354"/>
              <a:ext cx="1479140" cy="1154443"/>
            </a:xfrm>
            <a:prstGeom prst="rect">
              <a:avLst/>
            </a:prstGeom>
          </p:spPr>
        </p:pic>
      </p:grpSp>
      <p:sp>
        <p:nvSpPr>
          <p:cNvPr id="20" name="Прямоугольник 19"/>
          <p:cNvSpPr/>
          <p:nvPr/>
        </p:nvSpPr>
        <p:spPr>
          <a:xfrm>
            <a:off x="0" y="0"/>
            <a:ext cx="9144000" cy="88710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800" b="1" cap="all" dirty="0">
                <a:latin typeface="Arial" pitchFamily="34" charset="0"/>
                <a:cs typeface="Arial" pitchFamily="34" charset="0"/>
              </a:rPr>
              <a:t>Значимые  международные события</a:t>
            </a:r>
          </a:p>
        </p:txBody>
      </p:sp>
    </p:spTree>
    <p:extLst>
      <p:ext uri="{BB962C8B-B14F-4D97-AF65-F5344CB8AC3E}">
        <p14:creationId xmlns:p14="http://schemas.microsoft.com/office/powerpoint/2010/main" xmlns="" val="214345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800742" y="3034010"/>
            <a:ext cx="7669087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5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altLang="ru-RU" sz="54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6104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2347416"/>
            <a:ext cx="9144000" cy="2101755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 smtClean="0"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dirty="0" smtClean="0">
                <a:latin typeface="Arial" pitchFamily="34" charset="0"/>
                <a:cs typeface="Arial" pitchFamily="34" charset="0"/>
              </a:rPr>
              <a:t>УРАН ӨНЕРКӘСІБІНІҢ ҚАЗІРГІ ЖАҒДАЙ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41342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0" y="6565103"/>
            <a:ext cx="9144000" cy="295334"/>
          </a:xfrm>
          <a:prstGeom prst="rect">
            <a:avLst/>
          </a:prstGeom>
          <a:solidFill>
            <a:schemeClr val="accent1">
              <a:lumMod val="40000"/>
              <a:lumOff val="6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400" dirty="0" smtClean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9144000" cy="88710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2800" b="1" cap="all" dirty="0" smtClean="0">
                <a:latin typeface="Arial" pitchFamily="34" charset="0"/>
                <a:cs typeface="Arial" pitchFamily="34" charset="0"/>
              </a:rPr>
              <a:t>Қазақстан Республикасындағы уран өнеркәсібінің шикізаттық базасы</a:t>
            </a:r>
            <a:endParaRPr lang="ru-RU" sz="2800" b="1" cap="all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73715" y="2574083"/>
            <a:ext cx="5471914" cy="3521917"/>
            <a:chOff x="373715" y="2574083"/>
            <a:chExt cx="4985236" cy="3798365"/>
          </a:xfrm>
        </p:grpSpPr>
        <p:sp>
          <p:nvSpPr>
            <p:cNvPr id="10" name="Freeform 259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072529" y="2765332"/>
              <a:ext cx="933953" cy="1682066"/>
            </a:xfrm>
            <a:custGeom>
              <a:avLst/>
              <a:gdLst>
                <a:gd name="T0" fmla="*/ 933224 w 1008"/>
                <a:gd name="T1" fmla="*/ 132226 h 1314"/>
                <a:gd name="T2" fmla="*/ 995439 w 1008"/>
                <a:gd name="T3" fmla="*/ 404457 h 1314"/>
                <a:gd name="T4" fmla="*/ 941001 w 1008"/>
                <a:gd name="T5" fmla="*/ 513350 h 1314"/>
                <a:gd name="T6" fmla="*/ 921558 w 1008"/>
                <a:gd name="T7" fmla="*/ 727246 h 1314"/>
                <a:gd name="T8" fmla="*/ 851567 w 1008"/>
                <a:gd name="T9" fmla="*/ 785581 h 1314"/>
                <a:gd name="T10" fmla="*/ 874897 w 1008"/>
                <a:gd name="T11" fmla="*/ 882806 h 1314"/>
                <a:gd name="T12" fmla="*/ 917670 w 1008"/>
                <a:gd name="T13" fmla="*/ 1015033 h 1314"/>
                <a:gd name="T14" fmla="*/ 1042100 w 1008"/>
                <a:gd name="T15" fmla="*/ 1042256 h 1314"/>
                <a:gd name="T16" fmla="*/ 1127645 w 1008"/>
                <a:gd name="T17" fmla="*/ 1100591 h 1314"/>
                <a:gd name="T18" fmla="*/ 1232633 w 1008"/>
                <a:gd name="T19" fmla="*/ 1085035 h 1314"/>
                <a:gd name="T20" fmla="*/ 1306513 w 1008"/>
                <a:gd name="T21" fmla="*/ 1096702 h 1314"/>
                <a:gd name="T22" fmla="*/ 1240410 w 1008"/>
                <a:gd name="T23" fmla="*/ 1190038 h 1314"/>
                <a:gd name="T24" fmla="*/ 1139310 w 1008"/>
                <a:gd name="T25" fmla="*/ 1322264 h 1314"/>
                <a:gd name="T26" fmla="*/ 1049877 w 1008"/>
                <a:gd name="T27" fmla="*/ 1419490 h 1314"/>
                <a:gd name="T28" fmla="*/ 972108 w 1008"/>
                <a:gd name="T29" fmla="*/ 1477825 h 1314"/>
                <a:gd name="T30" fmla="*/ 836013 w 1008"/>
                <a:gd name="T31" fmla="*/ 1508937 h 1314"/>
                <a:gd name="T32" fmla="*/ 742691 w 1008"/>
                <a:gd name="T33" fmla="*/ 1571162 h 1314"/>
                <a:gd name="T34" fmla="*/ 703806 w 1008"/>
                <a:gd name="T35" fmla="*/ 1648942 h 1314"/>
                <a:gd name="T36" fmla="*/ 637703 w 1008"/>
                <a:gd name="T37" fmla="*/ 1641164 h 1314"/>
                <a:gd name="T38" fmla="*/ 497719 w 1008"/>
                <a:gd name="T39" fmla="*/ 1563384 h 1314"/>
                <a:gd name="T40" fmla="*/ 451058 w 1008"/>
                <a:gd name="T41" fmla="*/ 1528382 h 1314"/>
                <a:gd name="T42" fmla="*/ 400509 w 1008"/>
                <a:gd name="T43" fmla="*/ 1411712 h 1314"/>
                <a:gd name="T44" fmla="*/ 396620 w 1008"/>
                <a:gd name="T45" fmla="*/ 1291152 h 1314"/>
                <a:gd name="T46" fmla="*/ 482166 w 1008"/>
                <a:gd name="T47" fmla="*/ 1244484 h 1314"/>
                <a:gd name="T48" fmla="*/ 353847 w 1008"/>
                <a:gd name="T49" fmla="*/ 1034478 h 1314"/>
                <a:gd name="T50" fmla="*/ 349959 w 1008"/>
                <a:gd name="T51" fmla="*/ 972253 h 1314"/>
                <a:gd name="T52" fmla="*/ 299409 w 1008"/>
                <a:gd name="T53" fmla="*/ 917807 h 1314"/>
                <a:gd name="T54" fmla="*/ 225529 w 1008"/>
                <a:gd name="T55" fmla="*/ 851694 h 1314"/>
                <a:gd name="T56" fmla="*/ 124430 w 1008"/>
                <a:gd name="T57" fmla="*/ 801137 h 1314"/>
                <a:gd name="T58" fmla="*/ 73880 w 1008"/>
                <a:gd name="T59" fmla="*/ 754469 h 1314"/>
                <a:gd name="T60" fmla="*/ 27219 w 1008"/>
                <a:gd name="T61" fmla="*/ 680577 h 1314"/>
                <a:gd name="T62" fmla="*/ 167203 w 1008"/>
                <a:gd name="T63" fmla="*/ 598908 h 1314"/>
                <a:gd name="T64" fmla="*/ 143872 w 1008"/>
                <a:gd name="T65" fmla="*/ 497794 h 1314"/>
                <a:gd name="T66" fmla="*/ 295521 w 1008"/>
                <a:gd name="T67" fmla="*/ 455015 h 1314"/>
                <a:gd name="T68" fmla="*/ 307186 w 1008"/>
                <a:gd name="T69" fmla="*/ 408346 h 1314"/>
                <a:gd name="T70" fmla="*/ 174979 w 1008"/>
                <a:gd name="T71" fmla="*/ 346122 h 1314"/>
                <a:gd name="T72" fmla="*/ 248860 w 1008"/>
                <a:gd name="T73" fmla="*/ 295565 h 1314"/>
                <a:gd name="T74" fmla="*/ 139984 w 1008"/>
                <a:gd name="T75" fmla="*/ 276120 h 1314"/>
                <a:gd name="T76" fmla="*/ 198310 w 1008"/>
                <a:gd name="T77" fmla="*/ 202229 h 1314"/>
                <a:gd name="T78" fmla="*/ 287744 w 1008"/>
                <a:gd name="T79" fmla="*/ 182784 h 1314"/>
                <a:gd name="T80" fmla="*/ 404397 w 1008"/>
                <a:gd name="T81" fmla="*/ 213896 h 1314"/>
                <a:gd name="T82" fmla="*/ 524938 w 1008"/>
                <a:gd name="T83" fmla="*/ 136115 h 1314"/>
                <a:gd name="T84" fmla="*/ 606595 w 1008"/>
                <a:gd name="T85" fmla="*/ 140004 h 1314"/>
                <a:gd name="T86" fmla="*/ 723248 w 1008"/>
                <a:gd name="T87" fmla="*/ 101114 h 1314"/>
                <a:gd name="T88" fmla="*/ 797129 w 1008"/>
                <a:gd name="T89" fmla="*/ 73891 h 1314"/>
                <a:gd name="T90" fmla="*/ 906005 w 1008"/>
                <a:gd name="T91" fmla="*/ 0 h 131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08"/>
                <a:gd name="T139" fmla="*/ 0 h 1314"/>
                <a:gd name="T140" fmla="*/ 1008 w 1008"/>
                <a:gd name="T141" fmla="*/ 1314 h 131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08" h="1314">
                  <a:moveTo>
                    <a:pt x="699" y="0"/>
                  </a:moveTo>
                  <a:lnTo>
                    <a:pt x="720" y="72"/>
                  </a:lnTo>
                  <a:lnTo>
                    <a:pt x="720" y="102"/>
                  </a:lnTo>
                  <a:lnTo>
                    <a:pt x="741" y="114"/>
                  </a:lnTo>
                  <a:lnTo>
                    <a:pt x="708" y="153"/>
                  </a:lnTo>
                  <a:lnTo>
                    <a:pt x="768" y="312"/>
                  </a:lnTo>
                  <a:lnTo>
                    <a:pt x="732" y="345"/>
                  </a:lnTo>
                  <a:lnTo>
                    <a:pt x="759" y="357"/>
                  </a:lnTo>
                  <a:lnTo>
                    <a:pt x="726" y="396"/>
                  </a:lnTo>
                  <a:lnTo>
                    <a:pt x="732" y="453"/>
                  </a:lnTo>
                  <a:lnTo>
                    <a:pt x="729" y="498"/>
                  </a:lnTo>
                  <a:lnTo>
                    <a:pt x="711" y="561"/>
                  </a:lnTo>
                  <a:lnTo>
                    <a:pt x="678" y="591"/>
                  </a:lnTo>
                  <a:lnTo>
                    <a:pt x="654" y="585"/>
                  </a:lnTo>
                  <a:lnTo>
                    <a:pt x="657" y="606"/>
                  </a:lnTo>
                  <a:lnTo>
                    <a:pt x="681" y="618"/>
                  </a:lnTo>
                  <a:lnTo>
                    <a:pt x="672" y="654"/>
                  </a:lnTo>
                  <a:lnTo>
                    <a:pt x="675" y="681"/>
                  </a:lnTo>
                  <a:lnTo>
                    <a:pt x="687" y="723"/>
                  </a:lnTo>
                  <a:lnTo>
                    <a:pt x="693" y="750"/>
                  </a:lnTo>
                  <a:lnTo>
                    <a:pt x="708" y="783"/>
                  </a:lnTo>
                  <a:lnTo>
                    <a:pt x="735" y="750"/>
                  </a:lnTo>
                  <a:lnTo>
                    <a:pt x="768" y="777"/>
                  </a:lnTo>
                  <a:lnTo>
                    <a:pt x="804" y="804"/>
                  </a:lnTo>
                  <a:lnTo>
                    <a:pt x="849" y="813"/>
                  </a:lnTo>
                  <a:lnTo>
                    <a:pt x="882" y="819"/>
                  </a:lnTo>
                  <a:lnTo>
                    <a:pt x="870" y="849"/>
                  </a:lnTo>
                  <a:lnTo>
                    <a:pt x="882" y="870"/>
                  </a:lnTo>
                  <a:lnTo>
                    <a:pt x="933" y="849"/>
                  </a:lnTo>
                  <a:lnTo>
                    <a:pt x="951" y="837"/>
                  </a:lnTo>
                  <a:lnTo>
                    <a:pt x="978" y="840"/>
                  </a:lnTo>
                  <a:lnTo>
                    <a:pt x="993" y="816"/>
                  </a:lnTo>
                  <a:lnTo>
                    <a:pt x="1008" y="846"/>
                  </a:lnTo>
                  <a:lnTo>
                    <a:pt x="1002" y="864"/>
                  </a:lnTo>
                  <a:lnTo>
                    <a:pt x="954" y="894"/>
                  </a:lnTo>
                  <a:lnTo>
                    <a:pt x="957" y="918"/>
                  </a:lnTo>
                  <a:lnTo>
                    <a:pt x="924" y="975"/>
                  </a:lnTo>
                  <a:lnTo>
                    <a:pt x="903" y="1005"/>
                  </a:lnTo>
                  <a:lnTo>
                    <a:pt x="879" y="1020"/>
                  </a:lnTo>
                  <a:lnTo>
                    <a:pt x="852" y="1038"/>
                  </a:lnTo>
                  <a:lnTo>
                    <a:pt x="837" y="1086"/>
                  </a:lnTo>
                  <a:lnTo>
                    <a:pt x="810" y="1095"/>
                  </a:lnTo>
                  <a:lnTo>
                    <a:pt x="786" y="1137"/>
                  </a:lnTo>
                  <a:lnTo>
                    <a:pt x="771" y="1149"/>
                  </a:lnTo>
                  <a:lnTo>
                    <a:pt x="750" y="1140"/>
                  </a:lnTo>
                  <a:lnTo>
                    <a:pt x="732" y="1158"/>
                  </a:lnTo>
                  <a:lnTo>
                    <a:pt x="696" y="1179"/>
                  </a:lnTo>
                  <a:lnTo>
                    <a:pt x="645" y="1164"/>
                  </a:lnTo>
                  <a:lnTo>
                    <a:pt x="609" y="1161"/>
                  </a:lnTo>
                  <a:lnTo>
                    <a:pt x="606" y="1203"/>
                  </a:lnTo>
                  <a:lnTo>
                    <a:pt x="573" y="1212"/>
                  </a:lnTo>
                  <a:lnTo>
                    <a:pt x="576" y="1236"/>
                  </a:lnTo>
                  <a:lnTo>
                    <a:pt x="534" y="1251"/>
                  </a:lnTo>
                  <a:lnTo>
                    <a:pt x="543" y="1272"/>
                  </a:lnTo>
                  <a:lnTo>
                    <a:pt x="525" y="1290"/>
                  </a:lnTo>
                  <a:lnTo>
                    <a:pt x="516" y="1314"/>
                  </a:lnTo>
                  <a:lnTo>
                    <a:pt x="492" y="1266"/>
                  </a:lnTo>
                  <a:lnTo>
                    <a:pt x="450" y="1242"/>
                  </a:lnTo>
                  <a:lnTo>
                    <a:pt x="414" y="1221"/>
                  </a:lnTo>
                  <a:lnTo>
                    <a:pt x="384" y="1206"/>
                  </a:lnTo>
                  <a:lnTo>
                    <a:pt x="384" y="1179"/>
                  </a:lnTo>
                  <a:lnTo>
                    <a:pt x="366" y="1161"/>
                  </a:lnTo>
                  <a:lnTo>
                    <a:pt x="348" y="1179"/>
                  </a:lnTo>
                  <a:lnTo>
                    <a:pt x="315" y="1137"/>
                  </a:lnTo>
                  <a:lnTo>
                    <a:pt x="288" y="1098"/>
                  </a:lnTo>
                  <a:lnTo>
                    <a:pt x="309" y="1089"/>
                  </a:lnTo>
                  <a:lnTo>
                    <a:pt x="288" y="1050"/>
                  </a:lnTo>
                  <a:lnTo>
                    <a:pt x="306" y="1023"/>
                  </a:lnTo>
                  <a:lnTo>
                    <a:pt x="306" y="996"/>
                  </a:lnTo>
                  <a:lnTo>
                    <a:pt x="324" y="987"/>
                  </a:lnTo>
                  <a:lnTo>
                    <a:pt x="345" y="954"/>
                  </a:lnTo>
                  <a:lnTo>
                    <a:pt x="372" y="960"/>
                  </a:lnTo>
                  <a:lnTo>
                    <a:pt x="339" y="897"/>
                  </a:lnTo>
                  <a:lnTo>
                    <a:pt x="291" y="816"/>
                  </a:lnTo>
                  <a:lnTo>
                    <a:pt x="273" y="798"/>
                  </a:lnTo>
                  <a:lnTo>
                    <a:pt x="264" y="777"/>
                  </a:lnTo>
                  <a:lnTo>
                    <a:pt x="288" y="765"/>
                  </a:lnTo>
                  <a:lnTo>
                    <a:pt x="270" y="750"/>
                  </a:lnTo>
                  <a:lnTo>
                    <a:pt x="279" y="726"/>
                  </a:lnTo>
                  <a:lnTo>
                    <a:pt x="255" y="723"/>
                  </a:lnTo>
                  <a:lnTo>
                    <a:pt x="231" y="708"/>
                  </a:lnTo>
                  <a:lnTo>
                    <a:pt x="219" y="684"/>
                  </a:lnTo>
                  <a:lnTo>
                    <a:pt x="186" y="687"/>
                  </a:lnTo>
                  <a:lnTo>
                    <a:pt x="174" y="657"/>
                  </a:lnTo>
                  <a:lnTo>
                    <a:pt x="135" y="648"/>
                  </a:lnTo>
                  <a:lnTo>
                    <a:pt x="108" y="636"/>
                  </a:lnTo>
                  <a:lnTo>
                    <a:pt x="96" y="618"/>
                  </a:lnTo>
                  <a:lnTo>
                    <a:pt x="69" y="615"/>
                  </a:lnTo>
                  <a:lnTo>
                    <a:pt x="39" y="594"/>
                  </a:lnTo>
                  <a:lnTo>
                    <a:pt x="57" y="582"/>
                  </a:lnTo>
                  <a:lnTo>
                    <a:pt x="21" y="564"/>
                  </a:lnTo>
                  <a:lnTo>
                    <a:pt x="0" y="561"/>
                  </a:lnTo>
                  <a:lnTo>
                    <a:pt x="21" y="525"/>
                  </a:lnTo>
                  <a:lnTo>
                    <a:pt x="69" y="507"/>
                  </a:lnTo>
                  <a:lnTo>
                    <a:pt x="120" y="489"/>
                  </a:lnTo>
                  <a:lnTo>
                    <a:pt x="129" y="462"/>
                  </a:lnTo>
                  <a:lnTo>
                    <a:pt x="108" y="426"/>
                  </a:lnTo>
                  <a:lnTo>
                    <a:pt x="87" y="390"/>
                  </a:lnTo>
                  <a:lnTo>
                    <a:pt x="111" y="384"/>
                  </a:lnTo>
                  <a:lnTo>
                    <a:pt x="138" y="342"/>
                  </a:lnTo>
                  <a:lnTo>
                    <a:pt x="177" y="336"/>
                  </a:lnTo>
                  <a:lnTo>
                    <a:pt x="228" y="351"/>
                  </a:lnTo>
                  <a:lnTo>
                    <a:pt x="255" y="351"/>
                  </a:lnTo>
                  <a:lnTo>
                    <a:pt x="261" y="327"/>
                  </a:lnTo>
                  <a:lnTo>
                    <a:pt x="237" y="315"/>
                  </a:lnTo>
                  <a:lnTo>
                    <a:pt x="201" y="297"/>
                  </a:lnTo>
                  <a:lnTo>
                    <a:pt x="165" y="297"/>
                  </a:lnTo>
                  <a:lnTo>
                    <a:pt x="135" y="267"/>
                  </a:lnTo>
                  <a:lnTo>
                    <a:pt x="162" y="246"/>
                  </a:lnTo>
                  <a:lnTo>
                    <a:pt x="192" y="246"/>
                  </a:lnTo>
                  <a:lnTo>
                    <a:pt x="192" y="228"/>
                  </a:lnTo>
                  <a:lnTo>
                    <a:pt x="159" y="225"/>
                  </a:lnTo>
                  <a:lnTo>
                    <a:pt x="141" y="228"/>
                  </a:lnTo>
                  <a:lnTo>
                    <a:pt x="108" y="213"/>
                  </a:lnTo>
                  <a:lnTo>
                    <a:pt x="138" y="183"/>
                  </a:lnTo>
                  <a:lnTo>
                    <a:pt x="135" y="156"/>
                  </a:lnTo>
                  <a:lnTo>
                    <a:pt x="153" y="156"/>
                  </a:lnTo>
                  <a:lnTo>
                    <a:pt x="168" y="126"/>
                  </a:lnTo>
                  <a:lnTo>
                    <a:pt x="198" y="147"/>
                  </a:lnTo>
                  <a:lnTo>
                    <a:pt x="222" y="141"/>
                  </a:lnTo>
                  <a:lnTo>
                    <a:pt x="264" y="141"/>
                  </a:lnTo>
                  <a:lnTo>
                    <a:pt x="297" y="153"/>
                  </a:lnTo>
                  <a:lnTo>
                    <a:pt x="312" y="165"/>
                  </a:lnTo>
                  <a:lnTo>
                    <a:pt x="309" y="132"/>
                  </a:lnTo>
                  <a:lnTo>
                    <a:pt x="360" y="129"/>
                  </a:lnTo>
                  <a:lnTo>
                    <a:pt x="405" y="105"/>
                  </a:lnTo>
                  <a:lnTo>
                    <a:pt x="429" y="108"/>
                  </a:lnTo>
                  <a:lnTo>
                    <a:pt x="450" y="90"/>
                  </a:lnTo>
                  <a:lnTo>
                    <a:pt x="468" y="108"/>
                  </a:lnTo>
                  <a:lnTo>
                    <a:pt x="498" y="87"/>
                  </a:lnTo>
                  <a:lnTo>
                    <a:pt x="534" y="78"/>
                  </a:lnTo>
                  <a:lnTo>
                    <a:pt x="558" y="78"/>
                  </a:lnTo>
                  <a:lnTo>
                    <a:pt x="591" y="69"/>
                  </a:lnTo>
                  <a:lnTo>
                    <a:pt x="609" y="87"/>
                  </a:lnTo>
                  <a:lnTo>
                    <a:pt x="615" y="57"/>
                  </a:lnTo>
                  <a:lnTo>
                    <a:pt x="639" y="36"/>
                  </a:lnTo>
                  <a:lnTo>
                    <a:pt x="657" y="18"/>
                  </a:lnTo>
                  <a:lnTo>
                    <a:pt x="699" y="0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260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717105" y="2574083"/>
              <a:ext cx="919199" cy="813600"/>
            </a:xfrm>
            <a:custGeom>
              <a:avLst/>
              <a:gdLst>
                <a:gd name="T0" fmla="*/ 25925 w 992"/>
                <a:gd name="T1" fmla="*/ 279819 h 636"/>
                <a:gd name="T2" fmla="*/ 54442 w 992"/>
                <a:gd name="T3" fmla="*/ 349774 h 636"/>
                <a:gd name="T4" fmla="*/ 36295 w 992"/>
                <a:gd name="T5" fmla="*/ 450820 h 636"/>
                <a:gd name="T6" fmla="*/ 69997 w 992"/>
                <a:gd name="T7" fmla="*/ 546684 h 636"/>
                <a:gd name="T8" fmla="*/ 46665 w 992"/>
                <a:gd name="T9" fmla="*/ 642548 h 636"/>
                <a:gd name="T10" fmla="*/ 31110 w 992"/>
                <a:gd name="T11" fmla="*/ 720276 h 636"/>
                <a:gd name="T12" fmla="*/ 82960 w 992"/>
                <a:gd name="T13" fmla="*/ 803186 h 636"/>
                <a:gd name="T14" fmla="*/ 191844 w 992"/>
                <a:gd name="T15" fmla="*/ 823913 h 636"/>
                <a:gd name="T16" fmla="*/ 248879 w 992"/>
                <a:gd name="T17" fmla="*/ 777276 h 636"/>
                <a:gd name="T18" fmla="*/ 331839 w 992"/>
                <a:gd name="T19" fmla="*/ 813549 h 636"/>
                <a:gd name="T20" fmla="*/ 394059 w 992"/>
                <a:gd name="T21" fmla="*/ 715094 h 636"/>
                <a:gd name="T22" fmla="*/ 461463 w 992"/>
                <a:gd name="T23" fmla="*/ 663276 h 636"/>
                <a:gd name="T24" fmla="*/ 565163 w 992"/>
                <a:gd name="T25" fmla="*/ 709913 h 636"/>
                <a:gd name="T26" fmla="*/ 627383 w 992"/>
                <a:gd name="T27" fmla="*/ 741004 h 636"/>
                <a:gd name="T28" fmla="*/ 689602 w 992"/>
                <a:gd name="T29" fmla="*/ 730640 h 636"/>
                <a:gd name="T30" fmla="*/ 736267 w 992"/>
                <a:gd name="T31" fmla="*/ 707322 h 636"/>
                <a:gd name="T32" fmla="*/ 829597 w 992"/>
                <a:gd name="T33" fmla="*/ 756549 h 636"/>
                <a:gd name="T34" fmla="*/ 891817 w 992"/>
                <a:gd name="T35" fmla="*/ 652912 h 636"/>
                <a:gd name="T36" fmla="*/ 1057736 w 992"/>
                <a:gd name="T37" fmla="*/ 689185 h 636"/>
                <a:gd name="T38" fmla="*/ 1104401 w 992"/>
                <a:gd name="T39" fmla="*/ 642548 h 636"/>
                <a:gd name="T40" fmla="*/ 1208100 w 992"/>
                <a:gd name="T41" fmla="*/ 627003 h 636"/>
                <a:gd name="T42" fmla="*/ 1285875 w 992"/>
                <a:gd name="T43" fmla="*/ 570003 h 636"/>
                <a:gd name="T44" fmla="*/ 1197730 w 992"/>
                <a:gd name="T45" fmla="*/ 538912 h 636"/>
                <a:gd name="T46" fmla="*/ 1192545 w 992"/>
                <a:gd name="T47" fmla="*/ 487093 h 636"/>
                <a:gd name="T48" fmla="*/ 1119956 w 992"/>
                <a:gd name="T49" fmla="*/ 424911 h 636"/>
                <a:gd name="T50" fmla="*/ 1125141 w 992"/>
                <a:gd name="T51" fmla="*/ 399002 h 636"/>
                <a:gd name="T52" fmla="*/ 1156251 w 992"/>
                <a:gd name="T53" fmla="*/ 316092 h 636"/>
                <a:gd name="T54" fmla="*/ 1187360 w 992"/>
                <a:gd name="T55" fmla="*/ 264274 h 636"/>
                <a:gd name="T56" fmla="*/ 1062921 w 992"/>
                <a:gd name="T57" fmla="*/ 269456 h 636"/>
                <a:gd name="T58" fmla="*/ 1042181 w 992"/>
                <a:gd name="T59" fmla="*/ 310911 h 636"/>
                <a:gd name="T60" fmla="*/ 985146 w 992"/>
                <a:gd name="T61" fmla="*/ 285001 h 636"/>
                <a:gd name="T62" fmla="*/ 922927 w 992"/>
                <a:gd name="T63" fmla="*/ 217637 h 636"/>
                <a:gd name="T64" fmla="*/ 912557 w 992"/>
                <a:gd name="T65" fmla="*/ 259092 h 636"/>
                <a:gd name="T66" fmla="*/ 834782 w 992"/>
                <a:gd name="T67" fmla="*/ 279819 h 636"/>
                <a:gd name="T68" fmla="*/ 767377 w 992"/>
                <a:gd name="T69" fmla="*/ 259092 h 636"/>
                <a:gd name="T70" fmla="*/ 777747 w 992"/>
                <a:gd name="T71" fmla="*/ 196910 h 636"/>
                <a:gd name="T72" fmla="*/ 746637 w 992"/>
                <a:gd name="T73" fmla="*/ 98455 h 636"/>
                <a:gd name="T74" fmla="*/ 694787 w 992"/>
                <a:gd name="T75" fmla="*/ 10364 h 636"/>
                <a:gd name="T76" fmla="*/ 559978 w 992"/>
                <a:gd name="T77" fmla="*/ 15546 h 636"/>
                <a:gd name="T78" fmla="*/ 466648 w 992"/>
                <a:gd name="T79" fmla="*/ 10364 h 636"/>
                <a:gd name="T80" fmla="*/ 378504 w 992"/>
                <a:gd name="T81" fmla="*/ 20727 h 636"/>
                <a:gd name="T82" fmla="*/ 316284 w 992"/>
                <a:gd name="T83" fmla="*/ 57000 h 636"/>
                <a:gd name="T84" fmla="*/ 311099 w 992"/>
                <a:gd name="T85" fmla="*/ 124364 h 636"/>
                <a:gd name="T86" fmla="*/ 191844 w 992"/>
                <a:gd name="T87" fmla="*/ 155455 h 636"/>
                <a:gd name="T88" fmla="*/ 124440 w 992"/>
                <a:gd name="T89" fmla="*/ 165819 h 636"/>
                <a:gd name="T90" fmla="*/ 46665 w 992"/>
                <a:gd name="T91" fmla="*/ 186546 h 6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92"/>
                <a:gd name="T139" fmla="*/ 0 h 636"/>
                <a:gd name="T140" fmla="*/ 992 w 992"/>
                <a:gd name="T141" fmla="*/ 636 h 6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92" h="636">
                  <a:moveTo>
                    <a:pt x="0" y="152"/>
                  </a:moveTo>
                  <a:lnTo>
                    <a:pt x="20" y="216"/>
                  </a:lnTo>
                  <a:lnTo>
                    <a:pt x="24" y="256"/>
                  </a:lnTo>
                  <a:lnTo>
                    <a:pt x="42" y="270"/>
                  </a:lnTo>
                  <a:lnTo>
                    <a:pt x="10" y="300"/>
                  </a:lnTo>
                  <a:lnTo>
                    <a:pt x="28" y="348"/>
                  </a:lnTo>
                  <a:lnTo>
                    <a:pt x="44" y="392"/>
                  </a:lnTo>
                  <a:lnTo>
                    <a:pt x="54" y="422"/>
                  </a:lnTo>
                  <a:lnTo>
                    <a:pt x="72" y="464"/>
                  </a:lnTo>
                  <a:lnTo>
                    <a:pt x="36" y="496"/>
                  </a:lnTo>
                  <a:lnTo>
                    <a:pt x="60" y="508"/>
                  </a:lnTo>
                  <a:lnTo>
                    <a:pt x="24" y="556"/>
                  </a:lnTo>
                  <a:lnTo>
                    <a:pt x="44" y="604"/>
                  </a:lnTo>
                  <a:lnTo>
                    <a:pt x="64" y="620"/>
                  </a:lnTo>
                  <a:lnTo>
                    <a:pt x="92" y="616"/>
                  </a:lnTo>
                  <a:lnTo>
                    <a:pt x="148" y="636"/>
                  </a:lnTo>
                  <a:lnTo>
                    <a:pt x="172" y="636"/>
                  </a:lnTo>
                  <a:lnTo>
                    <a:pt x="192" y="600"/>
                  </a:lnTo>
                  <a:lnTo>
                    <a:pt x="216" y="608"/>
                  </a:lnTo>
                  <a:lnTo>
                    <a:pt x="256" y="628"/>
                  </a:lnTo>
                  <a:lnTo>
                    <a:pt x="280" y="588"/>
                  </a:lnTo>
                  <a:lnTo>
                    <a:pt x="304" y="552"/>
                  </a:lnTo>
                  <a:lnTo>
                    <a:pt x="332" y="520"/>
                  </a:lnTo>
                  <a:lnTo>
                    <a:pt x="356" y="512"/>
                  </a:lnTo>
                  <a:lnTo>
                    <a:pt x="394" y="550"/>
                  </a:lnTo>
                  <a:lnTo>
                    <a:pt x="436" y="548"/>
                  </a:lnTo>
                  <a:lnTo>
                    <a:pt x="452" y="580"/>
                  </a:lnTo>
                  <a:lnTo>
                    <a:pt x="484" y="572"/>
                  </a:lnTo>
                  <a:lnTo>
                    <a:pt x="508" y="548"/>
                  </a:lnTo>
                  <a:lnTo>
                    <a:pt x="532" y="564"/>
                  </a:lnTo>
                  <a:lnTo>
                    <a:pt x="556" y="512"/>
                  </a:lnTo>
                  <a:lnTo>
                    <a:pt x="568" y="546"/>
                  </a:lnTo>
                  <a:lnTo>
                    <a:pt x="592" y="568"/>
                  </a:lnTo>
                  <a:lnTo>
                    <a:pt x="640" y="584"/>
                  </a:lnTo>
                  <a:lnTo>
                    <a:pt x="664" y="544"/>
                  </a:lnTo>
                  <a:lnTo>
                    <a:pt x="688" y="504"/>
                  </a:lnTo>
                  <a:lnTo>
                    <a:pt x="732" y="532"/>
                  </a:lnTo>
                  <a:lnTo>
                    <a:pt x="816" y="532"/>
                  </a:lnTo>
                  <a:lnTo>
                    <a:pt x="840" y="552"/>
                  </a:lnTo>
                  <a:lnTo>
                    <a:pt x="852" y="496"/>
                  </a:lnTo>
                  <a:lnTo>
                    <a:pt x="876" y="476"/>
                  </a:lnTo>
                  <a:lnTo>
                    <a:pt x="932" y="484"/>
                  </a:lnTo>
                  <a:lnTo>
                    <a:pt x="976" y="496"/>
                  </a:lnTo>
                  <a:lnTo>
                    <a:pt x="992" y="440"/>
                  </a:lnTo>
                  <a:lnTo>
                    <a:pt x="944" y="448"/>
                  </a:lnTo>
                  <a:lnTo>
                    <a:pt x="924" y="416"/>
                  </a:lnTo>
                  <a:lnTo>
                    <a:pt x="948" y="388"/>
                  </a:lnTo>
                  <a:lnTo>
                    <a:pt x="920" y="376"/>
                  </a:lnTo>
                  <a:lnTo>
                    <a:pt x="904" y="356"/>
                  </a:lnTo>
                  <a:lnTo>
                    <a:pt x="864" y="328"/>
                  </a:lnTo>
                  <a:lnTo>
                    <a:pt x="856" y="352"/>
                  </a:lnTo>
                  <a:lnTo>
                    <a:pt x="868" y="308"/>
                  </a:lnTo>
                  <a:lnTo>
                    <a:pt x="880" y="280"/>
                  </a:lnTo>
                  <a:lnTo>
                    <a:pt x="892" y="244"/>
                  </a:lnTo>
                  <a:lnTo>
                    <a:pt x="920" y="236"/>
                  </a:lnTo>
                  <a:lnTo>
                    <a:pt x="916" y="204"/>
                  </a:lnTo>
                  <a:lnTo>
                    <a:pt x="884" y="224"/>
                  </a:lnTo>
                  <a:lnTo>
                    <a:pt x="820" y="208"/>
                  </a:lnTo>
                  <a:lnTo>
                    <a:pt x="776" y="200"/>
                  </a:lnTo>
                  <a:lnTo>
                    <a:pt x="804" y="240"/>
                  </a:lnTo>
                  <a:lnTo>
                    <a:pt x="772" y="248"/>
                  </a:lnTo>
                  <a:lnTo>
                    <a:pt x="760" y="220"/>
                  </a:lnTo>
                  <a:lnTo>
                    <a:pt x="740" y="188"/>
                  </a:lnTo>
                  <a:lnTo>
                    <a:pt x="712" y="168"/>
                  </a:lnTo>
                  <a:lnTo>
                    <a:pt x="736" y="204"/>
                  </a:lnTo>
                  <a:lnTo>
                    <a:pt x="704" y="200"/>
                  </a:lnTo>
                  <a:lnTo>
                    <a:pt x="676" y="224"/>
                  </a:lnTo>
                  <a:lnTo>
                    <a:pt x="644" y="216"/>
                  </a:lnTo>
                  <a:lnTo>
                    <a:pt x="612" y="240"/>
                  </a:lnTo>
                  <a:lnTo>
                    <a:pt x="592" y="200"/>
                  </a:lnTo>
                  <a:lnTo>
                    <a:pt x="620" y="176"/>
                  </a:lnTo>
                  <a:lnTo>
                    <a:pt x="600" y="152"/>
                  </a:lnTo>
                  <a:lnTo>
                    <a:pt x="612" y="108"/>
                  </a:lnTo>
                  <a:lnTo>
                    <a:pt x="576" y="76"/>
                  </a:lnTo>
                  <a:lnTo>
                    <a:pt x="568" y="40"/>
                  </a:lnTo>
                  <a:lnTo>
                    <a:pt x="536" y="8"/>
                  </a:lnTo>
                  <a:lnTo>
                    <a:pt x="492" y="28"/>
                  </a:lnTo>
                  <a:lnTo>
                    <a:pt x="432" y="12"/>
                  </a:lnTo>
                  <a:lnTo>
                    <a:pt x="384" y="0"/>
                  </a:lnTo>
                  <a:lnTo>
                    <a:pt x="360" y="8"/>
                  </a:lnTo>
                  <a:lnTo>
                    <a:pt x="324" y="24"/>
                  </a:lnTo>
                  <a:lnTo>
                    <a:pt x="292" y="16"/>
                  </a:lnTo>
                  <a:lnTo>
                    <a:pt x="284" y="48"/>
                  </a:lnTo>
                  <a:lnTo>
                    <a:pt x="244" y="44"/>
                  </a:lnTo>
                  <a:lnTo>
                    <a:pt x="260" y="80"/>
                  </a:lnTo>
                  <a:lnTo>
                    <a:pt x="240" y="96"/>
                  </a:lnTo>
                  <a:lnTo>
                    <a:pt x="192" y="116"/>
                  </a:lnTo>
                  <a:lnTo>
                    <a:pt x="148" y="120"/>
                  </a:lnTo>
                  <a:lnTo>
                    <a:pt x="132" y="140"/>
                  </a:lnTo>
                  <a:lnTo>
                    <a:pt x="96" y="128"/>
                  </a:lnTo>
                  <a:lnTo>
                    <a:pt x="80" y="152"/>
                  </a:lnTo>
                  <a:lnTo>
                    <a:pt x="36" y="14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 261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562541" y="2660302"/>
              <a:ext cx="728550" cy="1158478"/>
            </a:xfrm>
            <a:custGeom>
              <a:avLst/>
              <a:gdLst>
                <a:gd name="T0" fmla="*/ 15560 w 786"/>
                <a:gd name="T1" fmla="*/ 371155 h 904"/>
                <a:gd name="T2" fmla="*/ 31120 w 786"/>
                <a:gd name="T3" fmla="*/ 301077 h 904"/>
                <a:gd name="T4" fmla="*/ 77800 w 786"/>
                <a:gd name="T5" fmla="*/ 282909 h 904"/>
                <a:gd name="T6" fmla="*/ 142633 w 786"/>
                <a:gd name="T7" fmla="*/ 319245 h 904"/>
                <a:gd name="T8" fmla="*/ 155599 w 786"/>
                <a:gd name="T9" fmla="*/ 256954 h 904"/>
                <a:gd name="T10" fmla="*/ 233399 w 786"/>
                <a:gd name="T11" fmla="*/ 218021 h 904"/>
                <a:gd name="T12" fmla="*/ 267112 w 786"/>
                <a:gd name="T13" fmla="*/ 132370 h 904"/>
                <a:gd name="T14" fmla="*/ 295639 w 786"/>
                <a:gd name="T15" fmla="*/ 134966 h 904"/>
                <a:gd name="T16" fmla="*/ 370845 w 786"/>
                <a:gd name="T17" fmla="*/ 46719 h 904"/>
                <a:gd name="T18" fmla="*/ 471984 w 786"/>
                <a:gd name="T19" fmla="*/ 0 h 904"/>
                <a:gd name="T20" fmla="*/ 464204 w 786"/>
                <a:gd name="T21" fmla="*/ 75269 h 904"/>
                <a:gd name="T22" fmla="*/ 409745 w 786"/>
                <a:gd name="T23" fmla="*/ 103820 h 904"/>
                <a:gd name="T24" fmla="*/ 666484 w 786"/>
                <a:gd name="T25" fmla="*/ 262145 h 904"/>
                <a:gd name="T26" fmla="*/ 1019175 w 786"/>
                <a:gd name="T27" fmla="*/ 581390 h 904"/>
                <a:gd name="T28" fmla="*/ 988055 w 786"/>
                <a:gd name="T29" fmla="*/ 643682 h 904"/>
                <a:gd name="T30" fmla="*/ 954342 w 786"/>
                <a:gd name="T31" fmla="*/ 667041 h 904"/>
                <a:gd name="T32" fmla="*/ 954342 w 786"/>
                <a:gd name="T33" fmla="*/ 703378 h 904"/>
                <a:gd name="T34" fmla="*/ 886916 w 786"/>
                <a:gd name="T35" fmla="*/ 747502 h 904"/>
                <a:gd name="T36" fmla="*/ 858389 w 786"/>
                <a:gd name="T37" fmla="*/ 794220 h 904"/>
                <a:gd name="T38" fmla="*/ 958232 w 786"/>
                <a:gd name="T39" fmla="*/ 859108 h 904"/>
                <a:gd name="T40" fmla="*/ 993242 w 786"/>
                <a:gd name="T41" fmla="*/ 929186 h 904"/>
                <a:gd name="T42" fmla="*/ 998428 w 786"/>
                <a:gd name="T43" fmla="*/ 1017433 h 904"/>
                <a:gd name="T44" fmla="*/ 949155 w 786"/>
                <a:gd name="T45" fmla="*/ 1056365 h 904"/>
                <a:gd name="T46" fmla="*/ 832456 w 786"/>
                <a:gd name="T47" fmla="*/ 1030410 h 904"/>
                <a:gd name="T48" fmla="*/ 775403 w 786"/>
                <a:gd name="T49" fmla="*/ 981096 h 904"/>
                <a:gd name="T50" fmla="*/ 687230 w 786"/>
                <a:gd name="T51" fmla="*/ 952545 h 904"/>
                <a:gd name="T52" fmla="*/ 648330 w 786"/>
                <a:gd name="T53" fmla="*/ 1017433 h 904"/>
                <a:gd name="T54" fmla="*/ 643143 w 786"/>
                <a:gd name="T55" fmla="*/ 1071938 h 904"/>
                <a:gd name="T56" fmla="*/ 601650 w 786"/>
                <a:gd name="T57" fmla="*/ 1077129 h 904"/>
                <a:gd name="T58" fmla="*/ 560157 w 786"/>
                <a:gd name="T59" fmla="*/ 1084915 h 904"/>
                <a:gd name="T60" fmla="*/ 484951 w 786"/>
                <a:gd name="T61" fmla="*/ 1118657 h 904"/>
                <a:gd name="T62" fmla="*/ 430491 w 786"/>
                <a:gd name="T63" fmla="*/ 1139421 h 904"/>
                <a:gd name="T64" fmla="*/ 368252 w 786"/>
                <a:gd name="T65" fmla="*/ 1170567 h 904"/>
                <a:gd name="T66" fmla="*/ 404558 w 786"/>
                <a:gd name="T67" fmla="*/ 1118657 h 904"/>
                <a:gd name="T68" fmla="*/ 368252 w 786"/>
                <a:gd name="T69" fmla="*/ 1082320 h 904"/>
                <a:gd name="T70" fmla="*/ 306012 w 786"/>
                <a:gd name="T71" fmla="*/ 1064151 h 904"/>
                <a:gd name="T72" fmla="*/ 272299 w 786"/>
                <a:gd name="T73" fmla="*/ 1033006 h 904"/>
                <a:gd name="T74" fmla="*/ 197092 w 786"/>
                <a:gd name="T75" fmla="*/ 1053769 h 904"/>
                <a:gd name="T76" fmla="*/ 186719 w 786"/>
                <a:gd name="T77" fmla="*/ 1012242 h 904"/>
                <a:gd name="T78" fmla="*/ 178939 w 786"/>
                <a:gd name="T79" fmla="*/ 965523 h 904"/>
                <a:gd name="T80" fmla="*/ 184126 w 786"/>
                <a:gd name="T81" fmla="*/ 918804 h 904"/>
                <a:gd name="T82" fmla="*/ 127073 w 786"/>
                <a:gd name="T83" fmla="*/ 898040 h 904"/>
                <a:gd name="T84" fmla="*/ 176346 w 786"/>
                <a:gd name="T85" fmla="*/ 822771 h 904"/>
                <a:gd name="T86" fmla="*/ 137446 w 786"/>
                <a:gd name="T87" fmla="*/ 726738 h 904"/>
                <a:gd name="T88" fmla="*/ 82986 w 786"/>
                <a:gd name="T89" fmla="*/ 555435 h 904"/>
                <a:gd name="T90" fmla="*/ 41493 w 786"/>
                <a:gd name="T91" fmla="*/ 493143 h 904"/>
                <a:gd name="T92" fmla="*/ 46680 w 786"/>
                <a:gd name="T93" fmla="*/ 415279 h 90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86"/>
                <a:gd name="T142" fmla="*/ 0 h 904"/>
                <a:gd name="T143" fmla="*/ 786 w 786"/>
                <a:gd name="T144" fmla="*/ 904 h 90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86" h="904">
                  <a:moveTo>
                    <a:pt x="0" y="304"/>
                  </a:moveTo>
                  <a:lnTo>
                    <a:pt x="12" y="286"/>
                  </a:lnTo>
                  <a:lnTo>
                    <a:pt x="10" y="254"/>
                  </a:lnTo>
                  <a:lnTo>
                    <a:pt x="24" y="232"/>
                  </a:lnTo>
                  <a:lnTo>
                    <a:pt x="48" y="228"/>
                  </a:lnTo>
                  <a:lnTo>
                    <a:pt x="60" y="218"/>
                  </a:lnTo>
                  <a:lnTo>
                    <a:pt x="70" y="234"/>
                  </a:lnTo>
                  <a:lnTo>
                    <a:pt x="110" y="246"/>
                  </a:lnTo>
                  <a:lnTo>
                    <a:pt x="108" y="216"/>
                  </a:lnTo>
                  <a:lnTo>
                    <a:pt x="120" y="198"/>
                  </a:lnTo>
                  <a:lnTo>
                    <a:pt x="154" y="168"/>
                  </a:lnTo>
                  <a:lnTo>
                    <a:pt x="180" y="168"/>
                  </a:lnTo>
                  <a:lnTo>
                    <a:pt x="210" y="124"/>
                  </a:lnTo>
                  <a:lnTo>
                    <a:pt x="206" y="102"/>
                  </a:lnTo>
                  <a:lnTo>
                    <a:pt x="216" y="94"/>
                  </a:lnTo>
                  <a:lnTo>
                    <a:pt x="228" y="104"/>
                  </a:lnTo>
                  <a:lnTo>
                    <a:pt x="292" y="58"/>
                  </a:lnTo>
                  <a:lnTo>
                    <a:pt x="286" y="36"/>
                  </a:lnTo>
                  <a:lnTo>
                    <a:pt x="318" y="42"/>
                  </a:lnTo>
                  <a:lnTo>
                    <a:pt x="364" y="0"/>
                  </a:lnTo>
                  <a:lnTo>
                    <a:pt x="362" y="28"/>
                  </a:lnTo>
                  <a:lnTo>
                    <a:pt x="358" y="58"/>
                  </a:lnTo>
                  <a:lnTo>
                    <a:pt x="336" y="74"/>
                  </a:lnTo>
                  <a:lnTo>
                    <a:pt x="316" y="80"/>
                  </a:lnTo>
                  <a:lnTo>
                    <a:pt x="332" y="102"/>
                  </a:lnTo>
                  <a:lnTo>
                    <a:pt x="514" y="202"/>
                  </a:lnTo>
                  <a:lnTo>
                    <a:pt x="736" y="434"/>
                  </a:lnTo>
                  <a:lnTo>
                    <a:pt x="786" y="448"/>
                  </a:lnTo>
                  <a:lnTo>
                    <a:pt x="770" y="476"/>
                  </a:lnTo>
                  <a:lnTo>
                    <a:pt x="762" y="496"/>
                  </a:lnTo>
                  <a:lnTo>
                    <a:pt x="754" y="512"/>
                  </a:lnTo>
                  <a:lnTo>
                    <a:pt x="736" y="514"/>
                  </a:lnTo>
                  <a:lnTo>
                    <a:pt x="724" y="528"/>
                  </a:lnTo>
                  <a:lnTo>
                    <a:pt x="736" y="542"/>
                  </a:lnTo>
                  <a:lnTo>
                    <a:pt x="706" y="566"/>
                  </a:lnTo>
                  <a:lnTo>
                    <a:pt x="684" y="576"/>
                  </a:lnTo>
                  <a:lnTo>
                    <a:pt x="658" y="596"/>
                  </a:lnTo>
                  <a:lnTo>
                    <a:pt x="662" y="612"/>
                  </a:lnTo>
                  <a:lnTo>
                    <a:pt x="700" y="644"/>
                  </a:lnTo>
                  <a:lnTo>
                    <a:pt x="739" y="662"/>
                  </a:lnTo>
                  <a:lnTo>
                    <a:pt x="754" y="690"/>
                  </a:lnTo>
                  <a:lnTo>
                    <a:pt x="766" y="716"/>
                  </a:lnTo>
                  <a:lnTo>
                    <a:pt x="782" y="740"/>
                  </a:lnTo>
                  <a:lnTo>
                    <a:pt x="770" y="784"/>
                  </a:lnTo>
                  <a:lnTo>
                    <a:pt x="754" y="808"/>
                  </a:lnTo>
                  <a:lnTo>
                    <a:pt x="732" y="814"/>
                  </a:lnTo>
                  <a:lnTo>
                    <a:pt x="672" y="798"/>
                  </a:lnTo>
                  <a:lnTo>
                    <a:pt x="642" y="794"/>
                  </a:lnTo>
                  <a:lnTo>
                    <a:pt x="622" y="768"/>
                  </a:lnTo>
                  <a:lnTo>
                    <a:pt x="598" y="756"/>
                  </a:lnTo>
                  <a:lnTo>
                    <a:pt x="568" y="754"/>
                  </a:lnTo>
                  <a:lnTo>
                    <a:pt x="530" y="734"/>
                  </a:lnTo>
                  <a:lnTo>
                    <a:pt x="512" y="744"/>
                  </a:lnTo>
                  <a:lnTo>
                    <a:pt x="500" y="784"/>
                  </a:lnTo>
                  <a:lnTo>
                    <a:pt x="504" y="816"/>
                  </a:lnTo>
                  <a:lnTo>
                    <a:pt x="496" y="826"/>
                  </a:lnTo>
                  <a:lnTo>
                    <a:pt x="474" y="818"/>
                  </a:lnTo>
                  <a:lnTo>
                    <a:pt x="464" y="830"/>
                  </a:lnTo>
                  <a:lnTo>
                    <a:pt x="454" y="844"/>
                  </a:lnTo>
                  <a:lnTo>
                    <a:pt x="432" y="836"/>
                  </a:lnTo>
                  <a:lnTo>
                    <a:pt x="400" y="848"/>
                  </a:lnTo>
                  <a:lnTo>
                    <a:pt x="374" y="862"/>
                  </a:lnTo>
                  <a:lnTo>
                    <a:pt x="358" y="868"/>
                  </a:lnTo>
                  <a:lnTo>
                    <a:pt x="332" y="878"/>
                  </a:lnTo>
                  <a:lnTo>
                    <a:pt x="302" y="904"/>
                  </a:lnTo>
                  <a:lnTo>
                    <a:pt x="284" y="902"/>
                  </a:lnTo>
                  <a:lnTo>
                    <a:pt x="284" y="888"/>
                  </a:lnTo>
                  <a:lnTo>
                    <a:pt x="312" y="862"/>
                  </a:lnTo>
                  <a:lnTo>
                    <a:pt x="296" y="850"/>
                  </a:lnTo>
                  <a:lnTo>
                    <a:pt x="284" y="834"/>
                  </a:lnTo>
                  <a:lnTo>
                    <a:pt x="254" y="812"/>
                  </a:lnTo>
                  <a:lnTo>
                    <a:pt x="236" y="820"/>
                  </a:lnTo>
                  <a:lnTo>
                    <a:pt x="228" y="804"/>
                  </a:lnTo>
                  <a:lnTo>
                    <a:pt x="210" y="796"/>
                  </a:lnTo>
                  <a:lnTo>
                    <a:pt x="180" y="808"/>
                  </a:lnTo>
                  <a:lnTo>
                    <a:pt x="152" y="812"/>
                  </a:lnTo>
                  <a:lnTo>
                    <a:pt x="138" y="800"/>
                  </a:lnTo>
                  <a:lnTo>
                    <a:pt x="144" y="780"/>
                  </a:lnTo>
                  <a:lnTo>
                    <a:pt x="148" y="764"/>
                  </a:lnTo>
                  <a:lnTo>
                    <a:pt x="138" y="744"/>
                  </a:lnTo>
                  <a:lnTo>
                    <a:pt x="148" y="728"/>
                  </a:lnTo>
                  <a:lnTo>
                    <a:pt x="142" y="708"/>
                  </a:lnTo>
                  <a:lnTo>
                    <a:pt x="120" y="692"/>
                  </a:lnTo>
                  <a:lnTo>
                    <a:pt x="98" y="692"/>
                  </a:lnTo>
                  <a:lnTo>
                    <a:pt x="78" y="686"/>
                  </a:lnTo>
                  <a:lnTo>
                    <a:pt x="136" y="634"/>
                  </a:lnTo>
                  <a:lnTo>
                    <a:pt x="88" y="596"/>
                  </a:lnTo>
                  <a:lnTo>
                    <a:pt x="106" y="560"/>
                  </a:lnTo>
                  <a:lnTo>
                    <a:pt x="86" y="436"/>
                  </a:lnTo>
                  <a:lnTo>
                    <a:pt x="64" y="428"/>
                  </a:lnTo>
                  <a:lnTo>
                    <a:pt x="78" y="372"/>
                  </a:lnTo>
                  <a:lnTo>
                    <a:pt x="32" y="380"/>
                  </a:lnTo>
                  <a:lnTo>
                    <a:pt x="12" y="352"/>
                  </a:lnTo>
                  <a:lnTo>
                    <a:pt x="36" y="320"/>
                  </a:lnTo>
                  <a:lnTo>
                    <a:pt x="0" y="30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 262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274758" y="3630666"/>
              <a:ext cx="1309576" cy="1512763"/>
            </a:xfrm>
            <a:custGeom>
              <a:avLst/>
              <a:gdLst>
                <a:gd name="T0" fmla="*/ 206146 w 1413"/>
                <a:gd name="T1" fmla="*/ 0 h 1182"/>
                <a:gd name="T2" fmla="*/ 307274 w 1413"/>
                <a:gd name="T3" fmla="*/ 50546 h 1182"/>
                <a:gd name="T4" fmla="*/ 330611 w 1413"/>
                <a:gd name="T5" fmla="*/ 124421 h 1182"/>
                <a:gd name="T6" fmla="*/ 392844 w 1413"/>
                <a:gd name="T7" fmla="*/ 147750 h 1182"/>
                <a:gd name="T8" fmla="*/ 474524 w 1413"/>
                <a:gd name="T9" fmla="*/ 77763 h 1182"/>
                <a:gd name="T10" fmla="*/ 532867 w 1413"/>
                <a:gd name="T11" fmla="*/ 50546 h 1182"/>
                <a:gd name="T12" fmla="*/ 567873 w 1413"/>
                <a:gd name="T13" fmla="*/ 50546 h 1182"/>
                <a:gd name="T14" fmla="*/ 633996 w 1413"/>
                <a:gd name="T15" fmla="*/ 27217 h 1182"/>
                <a:gd name="T16" fmla="*/ 715676 w 1413"/>
                <a:gd name="T17" fmla="*/ 77763 h 1182"/>
                <a:gd name="T18" fmla="*/ 766240 w 1413"/>
                <a:gd name="T19" fmla="*/ 38882 h 1182"/>
                <a:gd name="T20" fmla="*/ 832362 w 1413"/>
                <a:gd name="T21" fmla="*/ 31105 h 1182"/>
                <a:gd name="T22" fmla="*/ 871258 w 1413"/>
                <a:gd name="T23" fmla="*/ 85540 h 1182"/>
                <a:gd name="T24" fmla="*/ 906264 w 1413"/>
                <a:gd name="T25" fmla="*/ 143862 h 1182"/>
                <a:gd name="T26" fmla="*/ 991834 w 1413"/>
                <a:gd name="T27" fmla="*/ 174968 h 1182"/>
                <a:gd name="T28" fmla="*/ 1077404 w 1413"/>
                <a:gd name="T29" fmla="*/ 186632 h 1182"/>
                <a:gd name="T30" fmla="*/ 1108520 w 1413"/>
                <a:gd name="T31" fmla="*/ 120533 h 1182"/>
                <a:gd name="T32" fmla="*/ 1162973 w 1413"/>
                <a:gd name="T33" fmla="*/ 159415 h 1182"/>
                <a:gd name="T34" fmla="*/ 1330224 w 1413"/>
                <a:gd name="T35" fmla="*/ 139974 h 1182"/>
                <a:gd name="T36" fmla="*/ 1349672 w 1413"/>
                <a:gd name="T37" fmla="*/ 38882 h 1182"/>
                <a:gd name="T38" fmla="*/ 1419684 w 1413"/>
                <a:gd name="T39" fmla="*/ 46658 h 1182"/>
                <a:gd name="T40" fmla="*/ 1470248 w 1413"/>
                <a:gd name="T41" fmla="*/ 101092 h 1182"/>
                <a:gd name="T42" fmla="*/ 1454689 w 1413"/>
                <a:gd name="T43" fmla="*/ 139974 h 1182"/>
                <a:gd name="T44" fmla="*/ 1567486 w 1413"/>
                <a:gd name="T45" fmla="*/ 291613 h 1182"/>
                <a:gd name="T46" fmla="*/ 1559707 w 1413"/>
                <a:gd name="T47" fmla="*/ 361600 h 1182"/>
                <a:gd name="T48" fmla="*/ 1509143 w 1413"/>
                <a:gd name="T49" fmla="*/ 416034 h 1182"/>
                <a:gd name="T50" fmla="*/ 1485806 w 1413"/>
                <a:gd name="T51" fmla="*/ 489909 h 1182"/>
                <a:gd name="T52" fmla="*/ 1489695 w 1413"/>
                <a:gd name="T53" fmla="*/ 556008 h 1182"/>
                <a:gd name="T54" fmla="*/ 1590823 w 1413"/>
                <a:gd name="T55" fmla="*/ 625995 h 1182"/>
                <a:gd name="T56" fmla="*/ 1625829 w 1413"/>
                <a:gd name="T57" fmla="*/ 695982 h 1182"/>
                <a:gd name="T58" fmla="*/ 1758074 w 1413"/>
                <a:gd name="T59" fmla="*/ 762081 h 1182"/>
                <a:gd name="T60" fmla="*/ 1789190 w 1413"/>
                <a:gd name="T61" fmla="*/ 851509 h 1182"/>
                <a:gd name="T62" fmla="*/ 1750295 w 1413"/>
                <a:gd name="T63" fmla="*/ 968154 h 1182"/>
                <a:gd name="T64" fmla="*/ 1586934 w 1413"/>
                <a:gd name="T65" fmla="*/ 1073134 h 1182"/>
                <a:gd name="T66" fmla="*/ 1524701 w 1413"/>
                <a:gd name="T67" fmla="*/ 1022588 h 1182"/>
                <a:gd name="T68" fmla="*/ 1458579 w 1413"/>
                <a:gd name="T69" fmla="*/ 972042 h 1182"/>
                <a:gd name="T70" fmla="*/ 1396346 w 1413"/>
                <a:gd name="T71" fmla="*/ 894278 h 1182"/>
                <a:gd name="T72" fmla="*/ 1244654 w 1413"/>
                <a:gd name="T73" fmla="*/ 1080910 h 1182"/>
                <a:gd name="T74" fmla="*/ 1166863 w 1413"/>
                <a:gd name="T75" fmla="*/ 1115904 h 1182"/>
                <a:gd name="T76" fmla="*/ 1038508 w 1413"/>
                <a:gd name="T77" fmla="*/ 1170338 h 1182"/>
                <a:gd name="T78" fmla="*/ 929601 w 1413"/>
                <a:gd name="T79" fmla="*/ 1310312 h 1182"/>
                <a:gd name="T80" fmla="*/ 840141 w 1413"/>
                <a:gd name="T81" fmla="*/ 1442510 h 1182"/>
                <a:gd name="T82" fmla="*/ 455077 w 1413"/>
                <a:gd name="T83" fmla="*/ 1531938 h 1182"/>
                <a:gd name="T84" fmla="*/ 420071 w 1413"/>
                <a:gd name="T85" fmla="*/ 1248102 h 1182"/>
                <a:gd name="T86" fmla="*/ 400623 w 1413"/>
                <a:gd name="T87" fmla="*/ 1189779 h 1182"/>
                <a:gd name="T88" fmla="*/ 280047 w 1413"/>
                <a:gd name="T89" fmla="*/ 1135345 h 1182"/>
                <a:gd name="T90" fmla="*/ 198367 w 1413"/>
                <a:gd name="T91" fmla="*/ 1014812 h 1182"/>
                <a:gd name="T92" fmla="*/ 225594 w 1413"/>
                <a:gd name="T93" fmla="*/ 855397 h 1182"/>
                <a:gd name="T94" fmla="*/ 206146 w 1413"/>
                <a:gd name="T95" fmla="*/ 769857 h 1182"/>
                <a:gd name="T96" fmla="*/ 202256 w 1413"/>
                <a:gd name="T97" fmla="*/ 657100 h 1182"/>
                <a:gd name="T98" fmla="*/ 198367 w 1413"/>
                <a:gd name="T99" fmla="*/ 598778 h 1182"/>
                <a:gd name="T100" fmla="*/ 147803 w 1413"/>
                <a:gd name="T101" fmla="*/ 614330 h 1182"/>
                <a:gd name="T102" fmla="*/ 58343 w 1413"/>
                <a:gd name="T103" fmla="*/ 505462 h 1182"/>
                <a:gd name="T104" fmla="*/ 0 w 1413"/>
                <a:gd name="T105" fmla="*/ 451027 h 1182"/>
                <a:gd name="T106" fmla="*/ 38895 w 1413"/>
                <a:gd name="T107" fmla="*/ 338271 h 1182"/>
                <a:gd name="T108" fmla="*/ 190588 w 1413"/>
                <a:gd name="T109" fmla="*/ 276060 h 1182"/>
                <a:gd name="T110" fmla="*/ 213925 w 1413"/>
                <a:gd name="T111" fmla="*/ 50546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13"/>
                <a:gd name="T169" fmla="*/ 0 h 1182"/>
                <a:gd name="T170" fmla="*/ 1413 w 1413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13" h="1182">
                  <a:moveTo>
                    <a:pt x="165" y="39"/>
                  </a:moveTo>
                  <a:lnTo>
                    <a:pt x="159" y="0"/>
                  </a:lnTo>
                  <a:lnTo>
                    <a:pt x="207" y="21"/>
                  </a:lnTo>
                  <a:lnTo>
                    <a:pt x="237" y="39"/>
                  </a:lnTo>
                  <a:lnTo>
                    <a:pt x="237" y="63"/>
                  </a:lnTo>
                  <a:lnTo>
                    <a:pt x="255" y="96"/>
                  </a:lnTo>
                  <a:lnTo>
                    <a:pt x="276" y="96"/>
                  </a:lnTo>
                  <a:lnTo>
                    <a:pt x="303" y="114"/>
                  </a:lnTo>
                  <a:lnTo>
                    <a:pt x="348" y="90"/>
                  </a:lnTo>
                  <a:lnTo>
                    <a:pt x="366" y="60"/>
                  </a:lnTo>
                  <a:lnTo>
                    <a:pt x="381" y="48"/>
                  </a:lnTo>
                  <a:lnTo>
                    <a:pt x="411" y="39"/>
                  </a:lnTo>
                  <a:lnTo>
                    <a:pt x="417" y="15"/>
                  </a:lnTo>
                  <a:lnTo>
                    <a:pt x="438" y="39"/>
                  </a:lnTo>
                  <a:lnTo>
                    <a:pt x="459" y="18"/>
                  </a:lnTo>
                  <a:lnTo>
                    <a:pt x="489" y="21"/>
                  </a:lnTo>
                  <a:lnTo>
                    <a:pt x="531" y="72"/>
                  </a:lnTo>
                  <a:lnTo>
                    <a:pt x="552" y="60"/>
                  </a:lnTo>
                  <a:lnTo>
                    <a:pt x="573" y="21"/>
                  </a:lnTo>
                  <a:lnTo>
                    <a:pt x="591" y="30"/>
                  </a:lnTo>
                  <a:lnTo>
                    <a:pt x="624" y="36"/>
                  </a:lnTo>
                  <a:lnTo>
                    <a:pt x="642" y="24"/>
                  </a:lnTo>
                  <a:lnTo>
                    <a:pt x="666" y="39"/>
                  </a:lnTo>
                  <a:lnTo>
                    <a:pt x="672" y="66"/>
                  </a:lnTo>
                  <a:lnTo>
                    <a:pt x="675" y="87"/>
                  </a:lnTo>
                  <a:lnTo>
                    <a:pt x="699" y="111"/>
                  </a:lnTo>
                  <a:lnTo>
                    <a:pt x="735" y="117"/>
                  </a:lnTo>
                  <a:lnTo>
                    <a:pt x="765" y="135"/>
                  </a:lnTo>
                  <a:lnTo>
                    <a:pt x="798" y="156"/>
                  </a:lnTo>
                  <a:lnTo>
                    <a:pt x="831" y="144"/>
                  </a:lnTo>
                  <a:lnTo>
                    <a:pt x="840" y="117"/>
                  </a:lnTo>
                  <a:lnTo>
                    <a:pt x="855" y="93"/>
                  </a:lnTo>
                  <a:lnTo>
                    <a:pt x="876" y="111"/>
                  </a:lnTo>
                  <a:lnTo>
                    <a:pt x="897" y="123"/>
                  </a:lnTo>
                  <a:lnTo>
                    <a:pt x="939" y="132"/>
                  </a:lnTo>
                  <a:lnTo>
                    <a:pt x="1026" y="108"/>
                  </a:lnTo>
                  <a:lnTo>
                    <a:pt x="1041" y="60"/>
                  </a:lnTo>
                  <a:lnTo>
                    <a:pt x="1041" y="30"/>
                  </a:lnTo>
                  <a:lnTo>
                    <a:pt x="1071" y="9"/>
                  </a:lnTo>
                  <a:lnTo>
                    <a:pt x="1095" y="36"/>
                  </a:lnTo>
                  <a:lnTo>
                    <a:pt x="1140" y="54"/>
                  </a:lnTo>
                  <a:lnTo>
                    <a:pt x="1134" y="78"/>
                  </a:lnTo>
                  <a:lnTo>
                    <a:pt x="1152" y="87"/>
                  </a:lnTo>
                  <a:lnTo>
                    <a:pt x="1122" y="108"/>
                  </a:lnTo>
                  <a:lnTo>
                    <a:pt x="1158" y="147"/>
                  </a:lnTo>
                  <a:lnTo>
                    <a:pt x="1209" y="225"/>
                  </a:lnTo>
                  <a:lnTo>
                    <a:pt x="1233" y="285"/>
                  </a:lnTo>
                  <a:lnTo>
                    <a:pt x="1203" y="279"/>
                  </a:lnTo>
                  <a:lnTo>
                    <a:pt x="1185" y="315"/>
                  </a:lnTo>
                  <a:lnTo>
                    <a:pt x="1164" y="321"/>
                  </a:lnTo>
                  <a:lnTo>
                    <a:pt x="1167" y="357"/>
                  </a:lnTo>
                  <a:lnTo>
                    <a:pt x="1146" y="378"/>
                  </a:lnTo>
                  <a:lnTo>
                    <a:pt x="1170" y="405"/>
                  </a:lnTo>
                  <a:lnTo>
                    <a:pt x="1149" y="429"/>
                  </a:lnTo>
                  <a:lnTo>
                    <a:pt x="1215" y="507"/>
                  </a:lnTo>
                  <a:lnTo>
                    <a:pt x="1227" y="483"/>
                  </a:lnTo>
                  <a:lnTo>
                    <a:pt x="1245" y="504"/>
                  </a:lnTo>
                  <a:lnTo>
                    <a:pt x="1254" y="537"/>
                  </a:lnTo>
                  <a:lnTo>
                    <a:pt x="1308" y="564"/>
                  </a:lnTo>
                  <a:lnTo>
                    <a:pt x="1356" y="588"/>
                  </a:lnTo>
                  <a:lnTo>
                    <a:pt x="1380" y="639"/>
                  </a:lnTo>
                  <a:lnTo>
                    <a:pt x="1380" y="657"/>
                  </a:lnTo>
                  <a:lnTo>
                    <a:pt x="1413" y="693"/>
                  </a:lnTo>
                  <a:lnTo>
                    <a:pt x="1350" y="747"/>
                  </a:lnTo>
                  <a:lnTo>
                    <a:pt x="1266" y="807"/>
                  </a:lnTo>
                  <a:lnTo>
                    <a:pt x="1224" y="828"/>
                  </a:lnTo>
                  <a:lnTo>
                    <a:pt x="1173" y="816"/>
                  </a:lnTo>
                  <a:lnTo>
                    <a:pt x="1176" y="789"/>
                  </a:lnTo>
                  <a:lnTo>
                    <a:pt x="1155" y="768"/>
                  </a:lnTo>
                  <a:lnTo>
                    <a:pt x="1125" y="750"/>
                  </a:lnTo>
                  <a:lnTo>
                    <a:pt x="1095" y="696"/>
                  </a:lnTo>
                  <a:lnTo>
                    <a:pt x="1077" y="690"/>
                  </a:lnTo>
                  <a:lnTo>
                    <a:pt x="1020" y="690"/>
                  </a:lnTo>
                  <a:lnTo>
                    <a:pt x="960" y="834"/>
                  </a:lnTo>
                  <a:lnTo>
                    <a:pt x="906" y="828"/>
                  </a:lnTo>
                  <a:lnTo>
                    <a:pt x="900" y="861"/>
                  </a:lnTo>
                  <a:lnTo>
                    <a:pt x="876" y="870"/>
                  </a:lnTo>
                  <a:lnTo>
                    <a:pt x="801" y="903"/>
                  </a:lnTo>
                  <a:lnTo>
                    <a:pt x="762" y="954"/>
                  </a:lnTo>
                  <a:lnTo>
                    <a:pt x="717" y="1011"/>
                  </a:lnTo>
                  <a:lnTo>
                    <a:pt x="678" y="1068"/>
                  </a:lnTo>
                  <a:lnTo>
                    <a:pt x="648" y="1113"/>
                  </a:lnTo>
                  <a:lnTo>
                    <a:pt x="576" y="1134"/>
                  </a:lnTo>
                  <a:lnTo>
                    <a:pt x="351" y="1182"/>
                  </a:lnTo>
                  <a:lnTo>
                    <a:pt x="327" y="1011"/>
                  </a:lnTo>
                  <a:lnTo>
                    <a:pt x="324" y="963"/>
                  </a:lnTo>
                  <a:lnTo>
                    <a:pt x="309" y="948"/>
                  </a:lnTo>
                  <a:lnTo>
                    <a:pt x="309" y="918"/>
                  </a:lnTo>
                  <a:lnTo>
                    <a:pt x="261" y="897"/>
                  </a:lnTo>
                  <a:lnTo>
                    <a:pt x="216" y="876"/>
                  </a:lnTo>
                  <a:lnTo>
                    <a:pt x="183" y="828"/>
                  </a:lnTo>
                  <a:lnTo>
                    <a:pt x="153" y="783"/>
                  </a:lnTo>
                  <a:lnTo>
                    <a:pt x="144" y="747"/>
                  </a:lnTo>
                  <a:lnTo>
                    <a:pt x="174" y="660"/>
                  </a:lnTo>
                  <a:lnTo>
                    <a:pt x="177" y="612"/>
                  </a:lnTo>
                  <a:lnTo>
                    <a:pt x="159" y="594"/>
                  </a:lnTo>
                  <a:cubicBezTo>
                    <a:pt x="168" y="554"/>
                    <a:pt x="159" y="572"/>
                    <a:pt x="159" y="558"/>
                  </a:cubicBezTo>
                  <a:lnTo>
                    <a:pt x="156" y="507"/>
                  </a:lnTo>
                  <a:lnTo>
                    <a:pt x="174" y="483"/>
                  </a:lnTo>
                  <a:lnTo>
                    <a:pt x="153" y="462"/>
                  </a:lnTo>
                  <a:lnTo>
                    <a:pt x="132" y="444"/>
                  </a:lnTo>
                  <a:lnTo>
                    <a:pt x="114" y="474"/>
                  </a:lnTo>
                  <a:lnTo>
                    <a:pt x="51" y="444"/>
                  </a:lnTo>
                  <a:lnTo>
                    <a:pt x="45" y="390"/>
                  </a:lnTo>
                  <a:lnTo>
                    <a:pt x="30" y="357"/>
                  </a:lnTo>
                  <a:lnTo>
                    <a:pt x="0" y="348"/>
                  </a:lnTo>
                  <a:lnTo>
                    <a:pt x="6" y="288"/>
                  </a:lnTo>
                  <a:lnTo>
                    <a:pt x="30" y="261"/>
                  </a:lnTo>
                  <a:lnTo>
                    <a:pt x="114" y="276"/>
                  </a:lnTo>
                  <a:lnTo>
                    <a:pt x="147" y="213"/>
                  </a:lnTo>
                  <a:lnTo>
                    <a:pt x="135" y="144"/>
                  </a:lnTo>
                  <a:lnTo>
                    <a:pt x="165" y="39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Freeform 263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3715" y="3353195"/>
              <a:ext cx="1056512" cy="906089"/>
            </a:xfrm>
            <a:custGeom>
              <a:avLst/>
              <a:gdLst>
                <a:gd name="T0" fmla="*/ 89456 w 1140"/>
                <a:gd name="T1" fmla="*/ 555988 h 708"/>
                <a:gd name="T2" fmla="*/ 140017 w 1140"/>
                <a:gd name="T3" fmla="*/ 540436 h 708"/>
                <a:gd name="T4" fmla="*/ 124460 w 1140"/>
                <a:gd name="T5" fmla="*/ 458788 h 708"/>
                <a:gd name="T6" fmla="*/ 237252 w 1140"/>
                <a:gd name="T7" fmla="*/ 326594 h 708"/>
                <a:gd name="T8" fmla="*/ 256699 w 1140"/>
                <a:gd name="T9" fmla="*/ 256610 h 708"/>
                <a:gd name="T10" fmla="*/ 315039 w 1140"/>
                <a:gd name="T11" fmla="*/ 202178 h 708"/>
                <a:gd name="T12" fmla="*/ 373380 w 1140"/>
                <a:gd name="T13" fmla="*/ 303266 h 708"/>
                <a:gd name="T14" fmla="*/ 400605 w 1140"/>
                <a:gd name="T15" fmla="*/ 392691 h 708"/>
                <a:gd name="T16" fmla="*/ 509508 w 1140"/>
                <a:gd name="T17" fmla="*/ 373251 h 708"/>
                <a:gd name="T18" fmla="*/ 501729 w 1140"/>
                <a:gd name="T19" fmla="*/ 314930 h 708"/>
                <a:gd name="T20" fmla="*/ 486172 w 1140"/>
                <a:gd name="T21" fmla="*/ 206066 h 708"/>
                <a:gd name="T22" fmla="*/ 633968 w 1140"/>
                <a:gd name="T23" fmla="*/ 198290 h 708"/>
                <a:gd name="T24" fmla="*/ 649525 w 1140"/>
                <a:gd name="T25" fmla="*/ 132193 h 708"/>
                <a:gd name="T26" fmla="*/ 723424 w 1140"/>
                <a:gd name="T27" fmla="*/ 124417 h 708"/>
                <a:gd name="T28" fmla="*/ 820658 w 1140"/>
                <a:gd name="T29" fmla="*/ 62208 h 708"/>
                <a:gd name="T30" fmla="*/ 871220 w 1140"/>
                <a:gd name="T31" fmla="*/ 19440 h 708"/>
                <a:gd name="T32" fmla="*/ 952896 w 1140"/>
                <a:gd name="T33" fmla="*/ 31104 h 708"/>
                <a:gd name="T34" fmla="*/ 980122 w 1140"/>
                <a:gd name="T35" fmla="*/ 81649 h 708"/>
                <a:gd name="T36" fmla="*/ 1019016 w 1140"/>
                <a:gd name="T37" fmla="*/ 69985 h 708"/>
                <a:gd name="T38" fmla="*/ 1065688 w 1140"/>
                <a:gd name="T39" fmla="*/ 50544 h 708"/>
                <a:gd name="T40" fmla="*/ 1151254 w 1140"/>
                <a:gd name="T41" fmla="*/ 31104 h 708"/>
                <a:gd name="T42" fmla="*/ 1186259 w 1140"/>
                <a:gd name="T43" fmla="*/ 116641 h 708"/>
                <a:gd name="T44" fmla="*/ 1295161 w 1140"/>
                <a:gd name="T45" fmla="*/ 132193 h 708"/>
                <a:gd name="T46" fmla="*/ 1337945 w 1140"/>
                <a:gd name="T47" fmla="*/ 202178 h 708"/>
                <a:gd name="T48" fmla="*/ 1431290 w 1140"/>
                <a:gd name="T49" fmla="*/ 291602 h 708"/>
                <a:gd name="T50" fmla="*/ 1477962 w 1140"/>
                <a:gd name="T51" fmla="*/ 334371 h 708"/>
                <a:gd name="T52" fmla="*/ 1450736 w 1140"/>
                <a:gd name="T53" fmla="*/ 416019 h 708"/>
                <a:gd name="T54" fmla="*/ 1439068 w 1140"/>
                <a:gd name="T55" fmla="*/ 517108 h 708"/>
                <a:gd name="T56" fmla="*/ 1419621 w 1140"/>
                <a:gd name="T57" fmla="*/ 606533 h 708"/>
                <a:gd name="T58" fmla="*/ 1357391 w 1140"/>
                <a:gd name="T59" fmla="*/ 633749 h 708"/>
                <a:gd name="T60" fmla="*/ 1267936 w 1140"/>
                <a:gd name="T61" fmla="*/ 649301 h 708"/>
                <a:gd name="T62" fmla="*/ 1256267 w 1140"/>
                <a:gd name="T63" fmla="*/ 730950 h 708"/>
                <a:gd name="T64" fmla="*/ 1139586 w 1140"/>
                <a:gd name="T65" fmla="*/ 750390 h 708"/>
                <a:gd name="T66" fmla="*/ 1108471 w 1140"/>
                <a:gd name="T67" fmla="*/ 797046 h 708"/>
                <a:gd name="T68" fmla="*/ 1050131 w 1140"/>
                <a:gd name="T69" fmla="*/ 870919 h 708"/>
                <a:gd name="T70" fmla="*/ 941228 w 1140"/>
                <a:gd name="T71" fmla="*/ 839814 h 708"/>
                <a:gd name="T72" fmla="*/ 886777 w 1140"/>
                <a:gd name="T73" fmla="*/ 785382 h 708"/>
                <a:gd name="T74" fmla="*/ 785653 w 1140"/>
                <a:gd name="T75" fmla="*/ 808710 h 708"/>
                <a:gd name="T76" fmla="*/ 610632 w 1140"/>
                <a:gd name="T77" fmla="*/ 898135 h 708"/>
                <a:gd name="T78" fmla="*/ 532844 w 1140"/>
                <a:gd name="T79" fmla="*/ 905911 h 708"/>
                <a:gd name="T80" fmla="*/ 486172 w 1140"/>
                <a:gd name="T81" fmla="*/ 917575 h 708"/>
                <a:gd name="T82" fmla="*/ 330597 w 1140"/>
                <a:gd name="T83" fmla="*/ 835926 h 708"/>
                <a:gd name="T84" fmla="*/ 38894 w 1140"/>
                <a:gd name="T85" fmla="*/ 723174 h 70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140"/>
                <a:gd name="T130" fmla="*/ 0 h 708"/>
                <a:gd name="T131" fmla="*/ 1140 w 1140"/>
                <a:gd name="T132" fmla="*/ 708 h 70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140" h="708">
                  <a:moveTo>
                    <a:pt x="0" y="537"/>
                  </a:moveTo>
                  <a:cubicBezTo>
                    <a:pt x="23" y="501"/>
                    <a:pt x="44" y="463"/>
                    <a:pt x="69" y="429"/>
                  </a:cubicBezTo>
                  <a:cubicBezTo>
                    <a:pt x="71" y="426"/>
                    <a:pt x="78" y="432"/>
                    <a:pt x="78" y="432"/>
                  </a:cubicBezTo>
                  <a:lnTo>
                    <a:pt x="108" y="417"/>
                  </a:lnTo>
                  <a:lnTo>
                    <a:pt x="117" y="390"/>
                  </a:lnTo>
                  <a:lnTo>
                    <a:pt x="96" y="354"/>
                  </a:lnTo>
                  <a:lnTo>
                    <a:pt x="135" y="258"/>
                  </a:lnTo>
                  <a:lnTo>
                    <a:pt x="183" y="252"/>
                  </a:lnTo>
                  <a:lnTo>
                    <a:pt x="204" y="216"/>
                  </a:lnTo>
                  <a:lnTo>
                    <a:pt x="198" y="198"/>
                  </a:lnTo>
                  <a:lnTo>
                    <a:pt x="225" y="171"/>
                  </a:lnTo>
                  <a:lnTo>
                    <a:pt x="243" y="156"/>
                  </a:lnTo>
                  <a:lnTo>
                    <a:pt x="267" y="198"/>
                  </a:lnTo>
                  <a:lnTo>
                    <a:pt x="288" y="234"/>
                  </a:lnTo>
                  <a:lnTo>
                    <a:pt x="297" y="273"/>
                  </a:lnTo>
                  <a:lnTo>
                    <a:pt x="309" y="303"/>
                  </a:lnTo>
                  <a:lnTo>
                    <a:pt x="348" y="306"/>
                  </a:lnTo>
                  <a:lnTo>
                    <a:pt x="393" y="288"/>
                  </a:lnTo>
                  <a:lnTo>
                    <a:pt x="378" y="261"/>
                  </a:lnTo>
                  <a:lnTo>
                    <a:pt x="387" y="243"/>
                  </a:lnTo>
                  <a:lnTo>
                    <a:pt x="378" y="219"/>
                  </a:lnTo>
                  <a:lnTo>
                    <a:pt x="375" y="159"/>
                  </a:lnTo>
                  <a:lnTo>
                    <a:pt x="423" y="168"/>
                  </a:lnTo>
                  <a:lnTo>
                    <a:pt x="489" y="153"/>
                  </a:lnTo>
                  <a:lnTo>
                    <a:pt x="492" y="129"/>
                  </a:lnTo>
                  <a:lnTo>
                    <a:pt x="501" y="102"/>
                  </a:lnTo>
                  <a:lnTo>
                    <a:pt x="528" y="93"/>
                  </a:lnTo>
                  <a:lnTo>
                    <a:pt x="558" y="96"/>
                  </a:lnTo>
                  <a:lnTo>
                    <a:pt x="603" y="78"/>
                  </a:lnTo>
                  <a:lnTo>
                    <a:pt x="633" y="48"/>
                  </a:lnTo>
                  <a:lnTo>
                    <a:pt x="666" y="36"/>
                  </a:lnTo>
                  <a:lnTo>
                    <a:pt x="672" y="15"/>
                  </a:lnTo>
                  <a:lnTo>
                    <a:pt x="693" y="0"/>
                  </a:lnTo>
                  <a:lnTo>
                    <a:pt x="735" y="24"/>
                  </a:lnTo>
                  <a:lnTo>
                    <a:pt x="762" y="39"/>
                  </a:lnTo>
                  <a:lnTo>
                    <a:pt x="756" y="63"/>
                  </a:lnTo>
                  <a:lnTo>
                    <a:pt x="774" y="69"/>
                  </a:lnTo>
                  <a:lnTo>
                    <a:pt x="786" y="54"/>
                  </a:lnTo>
                  <a:lnTo>
                    <a:pt x="810" y="72"/>
                  </a:lnTo>
                  <a:lnTo>
                    <a:pt x="822" y="39"/>
                  </a:lnTo>
                  <a:lnTo>
                    <a:pt x="858" y="39"/>
                  </a:lnTo>
                  <a:lnTo>
                    <a:pt x="888" y="24"/>
                  </a:lnTo>
                  <a:lnTo>
                    <a:pt x="900" y="72"/>
                  </a:lnTo>
                  <a:lnTo>
                    <a:pt x="915" y="90"/>
                  </a:lnTo>
                  <a:lnTo>
                    <a:pt x="948" y="90"/>
                  </a:lnTo>
                  <a:lnTo>
                    <a:pt x="999" y="102"/>
                  </a:lnTo>
                  <a:lnTo>
                    <a:pt x="1026" y="117"/>
                  </a:lnTo>
                  <a:lnTo>
                    <a:pt x="1032" y="156"/>
                  </a:lnTo>
                  <a:lnTo>
                    <a:pt x="1059" y="177"/>
                  </a:lnTo>
                  <a:lnTo>
                    <a:pt x="1104" y="225"/>
                  </a:lnTo>
                  <a:lnTo>
                    <a:pt x="1125" y="240"/>
                  </a:lnTo>
                  <a:lnTo>
                    <a:pt x="1140" y="258"/>
                  </a:lnTo>
                  <a:lnTo>
                    <a:pt x="1128" y="297"/>
                  </a:lnTo>
                  <a:lnTo>
                    <a:pt x="1119" y="321"/>
                  </a:lnTo>
                  <a:lnTo>
                    <a:pt x="1107" y="360"/>
                  </a:lnTo>
                  <a:lnTo>
                    <a:pt x="1110" y="399"/>
                  </a:lnTo>
                  <a:lnTo>
                    <a:pt x="1116" y="429"/>
                  </a:lnTo>
                  <a:lnTo>
                    <a:pt x="1095" y="468"/>
                  </a:lnTo>
                  <a:lnTo>
                    <a:pt x="1083" y="498"/>
                  </a:lnTo>
                  <a:lnTo>
                    <a:pt x="1047" y="489"/>
                  </a:lnTo>
                  <a:lnTo>
                    <a:pt x="1002" y="483"/>
                  </a:lnTo>
                  <a:lnTo>
                    <a:pt x="978" y="501"/>
                  </a:lnTo>
                  <a:lnTo>
                    <a:pt x="978" y="522"/>
                  </a:lnTo>
                  <a:lnTo>
                    <a:pt x="969" y="564"/>
                  </a:lnTo>
                  <a:lnTo>
                    <a:pt x="924" y="582"/>
                  </a:lnTo>
                  <a:lnTo>
                    <a:pt x="879" y="579"/>
                  </a:lnTo>
                  <a:lnTo>
                    <a:pt x="858" y="591"/>
                  </a:lnTo>
                  <a:lnTo>
                    <a:pt x="855" y="615"/>
                  </a:lnTo>
                  <a:lnTo>
                    <a:pt x="828" y="630"/>
                  </a:lnTo>
                  <a:lnTo>
                    <a:pt x="810" y="672"/>
                  </a:lnTo>
                  <a:lnTo>
                    <a:pt x="777" y="657"/>
                  </a:lnTo>
                  <a:lnTo>
                    <a:pt x="726" y="648"/>
                  </a:lnTo>
                  <a:lnTo>
                    <a:pt x="723" y="618"/>
                  </a:lnTo>
                  <a:lnTo>
                    <a:pt x="684" y="606"/>
                  </a:lnTo>
                  <a:lnTo>
                    <a:pt x="630" y="606"/>
                  </a:lnTo>
                  <a:lnTo>
                    <a:pt x="606" y="624"/>
                  </a:lnTo>
                  <a:lnTo>
                    <a:pt x="543" y="648"/>
                  </a:lnTo>
                  <a:lnTo>
                    <a:pt x="471" y="693"/>
                  </a:lnTo>
                  <a:lnTo>
                    <a:pt x="438" y="684"/>
                  </a:lnTo>
                  <a:lnTo>
                    <a:pt x="411" y="699"/>
                  </a:lnTo>
                  <a:lnTo>
                    <a:pt x="387" y="678"/>
                  </a:lnTo>
                  <a:lnTo>
                    <a:pt x="375" y="708"/>
                  </a:lnTo>
                  <a:lnTo>
                    <a:pt x="339" y="678"/>
                  </a:lnTo>
                  <a:lnTo>
                    <a:pt x="255" y="645"/>
                  </a:lnTo>
                  <a:lnTo>
                    <a:pt x="159" y="612"/>
                  </a:lnTo>
                  <a:lnTo>
                    <a:pt x="30" y="558"/>
                  </a:lnTo>
                  <a:lnTo>
                    <a:pt x="0" y="537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reeform 264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34995" y="4071169"/>
              <a:ext cx="1142757" cy="837113"/>
            </a:xfrm>
            <a:custGeom>
              <a:avLst/>
              <a:gdLst>
                <a:gd name="T0" fmla="*/ 217816 w 1233"/>
                <a:gd name="T1" fmla="*/ 521079 h 654"/>
                <a:gd name="T2" fmla="*/ 210037 w 1233"/>
                <a:gd name="T3" fmla="*/ 443306 h 654"/>
                <a:gd name="T4" fmla="*/ 272270 w 1233"/>
                <a:gd name="T5" fmla="*/ 435528 h 654"/>
                <a:gd name="T6" fmla="*/ 229484 w 1233"/>
                <a:gd name="T7" fmla="*/ 291648 h 654"/>
                <a:gd name="T8" fmla="*/ 182810 w 1233"/>
                <a:gd name="T9" fmla="*/ 213876 h 654"/>
                <a:gd name="T10" fmla="*/ 116687 w 1233"/>
                <a:gd name="T11" fmla="*/ 159434 h 654"/>
                <a:gd name="T12" fmla="*/ 50564 w 1233"/>
                <a:gd name="T13" fmla="*/ 136103 h 654"/>
                <a:gd name="T14" fmla="*/ 11669 w 1233"/>
                <a:gd name="T15" fmla="*/ 143880 h 654"/>
                <a:gd name="T16" fmla="*/ 0 w 1233"/>
                <a:gd name="T17" fmla="*/ 73884 h 654"/>
                <a:gd name="T18" fmla="*/ 27227 w 1233"/>
                <a:gd name="T19" fmla="*/ 23332 h 654"/>
                <a:gd name="T20" fmla="*/ 330613 w 1233"/>
                <a:gd name="T21" fmla="*/ 143880 h 654"/>
                <a:gd name="T22" fmla="*/ 420073 w 1233"/>
                <a:gd name="T23" fmla="*/ 159434 h 654"/>
                <a:gd name="T24" fmla="*/ 482306 w 1233"/>
                <a:gd name="T25" fmla="*/ 163323 h 654"/>
                <a:gd name="T26" fmla="*/ 610662 w 1233"/>
                <a:gd name="T27" fmla="*/ 112771 h 654"/>
                <a:gd name="T28" fmla="*/ 746797 w 1233"/>
                <a:gd name="T29" fmla="*/ 58330 h 654"/>
                <a:gd name="T30" fmla="*/ 855705 w 1233"/>
                <a:gd name="T31" fmla="*/ 81662 h 654"/>
                <a:gd name="T32" fmla="*/ 894600 w 1233"/>
                <a:gd name="T33" fmla="*/ 120548 h 654"/>
                <a:gd name="T34" fmla="*/ 968502 w 1233"/>
                <a:gd name="T35" fmla="*/ 151657 h 654"/>
                <a:gd name="T36" fmla="*/ 1022956 w 1233"/>
                <a:gd name="T37" fmla="*/ 73884 h 654"/>
                <a:gd name="T38" fmla="*/ 1069631 w 1233"/>
                <a:gd name="T39" fmla="*/ 19443 h 654"/>
                <a:gd name="T40" fmla="*/ 1170759 w 1233"/>
                <a:gd name="T41" fmla="*/ 0 h 654"/>
                <a:gd name="T42" fmla="*/ 1236882 w 1233"/>
                <a:gd name="T43" fmla="*/ 73884 h 654"/>
                <a:gd name="T44" fmla="*/ 1287446 w 1233"/>
                <a:gd name="T45" fmla="*/ 147769 h 654"/>
                <a:gd name="T46" fmla="*/ 1345790 w 1233"/>
                <a:gd name="T47" fmla="*/ 132214 h 654"/>
                <a:gd name="T48" fmla="*/ 1392465 w 1233"/>
                <a:gd name="T49" fmla="*/ 178878 h 654"/>
                <a:gd name="T50" fmla="*/ 1384686 w 1233"/>
                <a:gd name="T51" fmla="*/ 256651 h 654"/>
                <a:gd name="T52" fmla="*/ 1384686 w 1233"/>
                <a:gd name="T53" fmla="*/ 322758 h 654"/>
                <a:gd name="T54" fmla="*/ 1396355 w 1233"/>
                <a:gd name="T55" fmla="*/ 412197 h 654"/>
                <a:gd name="T56" fmla="*/ 1361349 w 1233"/>
                <a:gd name="T57" fmla="*/ 521079 h 654"/>
                <a:gd name="T58" fmla="*/ 1411913 w 1233"/>
                <a:gd name="T59" fmla="*/ 633849 h 654"/>
                <a:gd name="T60" fmla="*/ 1536379 w 1233"/>
                <a:gd name="T61" fmla="*/ 727177 h 654"/>
                <a:gd name="T62" fmla="*/ 1579164 w 1233"/>
                <a:gd name="T63" fmla="*/ 785507 h 654"/>
                <a:gd name="T64" fmla="*/ 1598612 w 1233"/>
                <a:gd name="T65" fmla="*/ 847725 h 654"/>
                <a:gd name="T66" fmla="*/ 1489704 w 1233"/>
                <a:gd name="T67" fmla="*/ 773841 h 654"/>
                <a:gd name="T68" fmla="*/ 1408023 w 1233"/>
                <a:gd name="T69" fmla="*/ 746620 h 654"/>
                <a:gd name="T70" fmla="*/ 1221324 w 1233"/>
                <a:gd name="T71" fmla="*/ 762175 h 654"/>
                <a:gd name="T72" fmla="*/ 1108526 w 1233"/>
                <a:gd name="T73" fmla="*/ 797173 h 654"/>
                <a:gd name="T74" fmla="*/ 1022956 w 1233"/>
                <a:gd name="T75" fmla="*/ 847725 h 654"/>
                <a:gd name="T76" fmla="*/ 960723 w 1233"/>
                <a:gd name="T77" fmla="*/ 816616 h 654"/>
                <a:gd name="T78" fmla="*/ 999619 w 1233"/>
                <a:gd name="T79" fmla="*/ 742732 h 654"/>
                <a:gd name="T80" fmla="*/ 991839 w 1233"/>
                <a:gd name="T81" fmla="*/ 680513 h 654"/>
                <a:gd name="T82" fmla="*/ 987950 w 1233"/>
                <a:gd name="T83" fmla="*/ 618295 h 654"/>
                <a:gd name="T84" fmla="*/ 960723 w 1233"/>
                <a:gd name="T85" fmla="*/ 563854 h 654"/>
                <a:gd name="T86" fmla="*/ 898490 w 1233"/>
                <a:gd name="T87" fmla="*/ 556076 h 654"/>
                <a:gd name="T88" fmla="*/ 820699 w 1233"/>
                <a:gd name="T89" fmla="*/ 556076 h 654"/>
                <a:gd name="T90" fmla="*/ 746797 w 1233"/>
                <a:gd name="T91" fmla="*/ 513301 h 654"/>
                <a:gd name="T92" fmla="*/ 711791 w 1233"/>
                <a:gd name="T93" fmla="*/ 486081 h 654"/>
                <a:gd name="T94" fmla="*/ 633999 w 1233"/>
                <a:gd name="T95" fmla="*/ 486081 h 654"/>
                <a:gd name="T96" fmla="*/ 493975 w 1233"/>
                <a:gd name="T97" fmla="*/ 517190 h 654"/>
                <a:gd name="T98" fmla="*/ 431742 w 1233"/>
                <a:gd name="T99" fmla="*/ 556076 h 654"/>
                <a:gd name="T100" fmla="*/ 369509 w 1233"/>
                <a:gd name="T101" fmla="*/ 548299 h 654"/>
                <a:gd name="T102" fmla="*/ 307276 w 1233"/>
                <a:gd name="T103" fmla="*/ 544411 h 65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33"/>
                <a:gd name="T157" fmla="*/ 0 h 654"/>
                <a:gd name="T158" fmla="*/ 1233 w 1233"/>
                <a:gd name="T159" fmla="*/ 654 h 65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33" h="654">
                  <a:moveTo>
                    <a:pt x="198" y="432"/>
                  </a:moveTo>
                  <a:lnTo>
                    <a:pt x="168" y="402"/>
                  </a:lnTo>
                  <a:lnTo>
                    <a:pt x="147" y="381"/>
                  </a:lnTo>
                  <a:lnTo>
                    <a:pt x="162" y="342"/>
                  </a:lnTo>
                  <a:lnTo>
                    <a:pt x="207" y="366"/>
                  </a:lnTo>
                  <a:lnTo>
                    <a:pt x="210" y="336"/>
                  </a:lnTo>
                  <a:lnTo>
                    <a:pt x="180" y="261"/>
                  </a:lnTo>
                  <a:lnTo>
                    <a:pt x="177" y="225"/>
                  </a:lnTo>
                  <a:lnTo>
                    <a:pt x="156" y="201"/>
                  </a:lnTo>
                  <a:lnTo>
                    <a:pt x="141" y="165"/>
                  </a:lnTo>
                  <a:lnTo>
                    <a:pt x="126" y="138"/>
                  </a:lnTo>
                  <a:lnTo>
                    <a:pt x="90" y="123"/>
                  </a:lnTo>
                  <a:lnTo>
                    <a:pt x="66" y="123"/>
                  </a:lnTo>
                  <a:lnTo>
                    <a:pt x="39" y="105"/>
                  </a:lnTo>
                  <a:lnTo>
                    <a:pt x="24" y="129"/>
                  </a:lnTo>
                  <a:lnTo>
                    <a:pt x="9" y="111"/>
                  </a:lnTo>
                  <a:lnTo>
                    <a:pt x="6" y="87"/>
                  </a:lnTo>
                  <a:lnTo>
                    <a:pt x="0" y="57"/>
                  </a:lnTo>
                  <a:lnTo>
                    <a:pt x="21" y="39"/>
                  </a:lnTo>
                  <a:lnTo>
                    <a:pt x="21" y="18"/>
                  </a:lnTo>
                  <a:lnTo>
                    <a:pt x="114" y="57"/>
                  </a:lnTo>
                  <a:lnTo>
                    <a:pt x="255" y="111"/>
                  </a:lnTo>
                  <a:lnTo>
                    <a:pt x="312" y="147"/>
                  </a:lnTo>
                  <a:lnTo>
                    <a:pt x="324" y="123"/>
                  </a:lnTo>
                  <a:lnTo>
                    <a:pt x="351" y="135"/>
                  </a:lnTo>
                  <a:lnTo>
                    <a:pt x="372" y="126"/>
                  </a:lnTo>
                  <a:lnTo>
                    <a:pt x="399" y="132"/>
                  </a:lnTo>
                  <a:lnTo>
                    <a:pt x="471" y="87"/>
                  </a:lnTo>
                  <a:lnTo>
                    <a:pt x="540" y="63"/>
                  </a:lnTo>
                  <a:lnTo>
                    <a:pt x="576" y="45"/>
                  </a:lnTo>
                  <a:lnTo>
                    <a:pt x="639" y="51"/>
                  </a:lnTo>
                  <a:lnTo>
                    <a:pt x="660" y="63"/>
                  </a:lnTo>
                  <a:lnTo>
                    <a:pt x="660" y="87"/>
                  </a:lnTo>
                  <a:lnTo>
                    <a:pt x="690" y="93"/>
                  </a:lnTo>
                  <a:lnTo>
                    <a:pt x="714" y="96"/>
                  </a:lnTo>
                  <a:lnTo>
                    <a:pt x="747" y="117"/>
                  </a:lnTo>
                  <a:lnTo>
                    <a:pt x="765" y="66"/>
                  </a:lnTo>
                  <a:lnTo>
                    <a:pt x="789" y="57"/>
                  </a:lnTo>
                  <a:lnTo>
                    <a:pt x="795" y="27"/>
                  </a:lnTo>
                  <a:lnTo>
                    <a:pt x="825" y="15"/>
                  </a:lnTo>
                  <a:lnTo>
                    <a:pt x="864" y="24"/>
                  </a:lnTo>
                  <a:lnTo>
                    <a:pt x="903" y="0"/>
                  </a:lnTo>
                  <a:lnTo>
                    <a:pt x="939" y="15"/>
                  </a:lnTo>
                  <a:lnTo>
                    <a:pt x="954" y="57"/>
                  </a:lnTo>
                  <a:lnTo>
                    <a:pt x="960" y="96"/>
                  </a:lnTo>
                  <a:lnTo>
                    <a:pt x="993" y="114"/>
                  </a:lnTo>
                  <a:lnTo>
                    <a:pt x="1020" y="129"/>
                  </a:lnTo>
                  <a:lnTo>
                    <a:pt x="1038" y="102"/>
                  </a:lnTo>
                  <a:lnTo>
                    <a:pt x="1062" y="114"/>
                  </a:lnTo>
                  <a:lnTo>
                    <a:pt x="1074" y="138"/>
                  </a:lnTo>
                  <a:lnTo>
                    <a:pt x="1062" y="168"/>
                  </a:lnTo>
                  <a:lnTo>
                    <a:pt x="1068" y="198"/>
                  </a:lnTo>
                  <a:lnTo>
                    <a:pt x="1071" y="228"/>
                  </a:lnTo>
                  <a:lnTo>
                    <a:pt x="1068" y="249"/>
                  </a:lnTo>
                  <a:lnTo>
                    <a:pt x="1086" y="279"/>
                  </a:lnTo>
                  <a:lnTo>
                    <a:pt x="1077" y="318"/>
                  </a:lnTo>
                  <a:lnTo>
                    <a:pt x="1065" y="360"/>
                  </a:lnTo>
                  <a:lnTo>
                    <a:pt x="1050" y="402"/>
                  </a:lnTo>
                  <a:lnTo>
                    <a:pt x="1059" y="432"/>
                  </a:lnTo>
                  <a:lnTo>
                    <a:pt x="1089" y="489"/>
                  </a:lnTo>
                  <a:lnTo>
                    <a:pt x="1131" y="537"/>
                  </a:lnTo>
                  <a:lnTo>
                    <a:pt x="1185" y="561"/>
                  </a:lnTo>
                  <a:lnTo>
                    <a:pt x="1221" y="582"/>
                  </a:lnTo>
                  <a:lnTo>
                    <a:pt x="1218" y="606"/>
                  </a:lnTo>
                  <a:lnTo>
                    <a:pt x="1233" y="621"/>
                  </a:lnTo>
                  <a:lnTo>
                    <a:pt x="1233" y="654"/>
                  </a:lnTo>
                  <a:lnTo>
                    <a:pt x="1143" y="630"/>
                  </a:lnTo>
                  <a:lnTo>
                    <a:pt x="1149" y="597"/>
                  </a:lnTo>
                  <a:lnTo>
                    <a:pt x="1101" y="564"/>
                  </a:lnTo>
                  <a:lnTo>
                    <a:pt x="1086" y="576"/>
                  </a:lnTo>
                  <a:lnTo>
                    <a:pt x="1014" y="585"/>
                  </a:lnTo>
                  <a:lnTo>
                    <a:pt x="942" y="588"/>
                  </a:lnTo>
                  <a:lnTo>
                    <a:pt x="885" y="579"/>
                  </a:lnTo>
                  <a:lnTo>
                    <a:pt x="855" y="615"/>
                  </a:lnTo>
                  <a:lnTo>
                    <a:pt x="828" y="639"/>
                  </a:lnTo>
                  <a:lnTo>
                    <a:pt x="789" y="654"/>
                  </a:lnTo>
                  <a:lnTo>
                    <a:pt x="765" y="654"/>
                  </a:lnTo>
                  <a:lnTo>
                    <a:pt x="741" y="630"/>
                  </a:lnTo>
                  <a:lnTo>
                    <a:pt x="756" y="603"/>
                  </a:lnTo>
                  <a:lnTo>
                    <a:pt x="771" y="573"/>
                  </a:lnTo>
                  <a:lnTo>
                    <a:pt x="768" y="549"/>
                  </a:lnTo>
                  <a:lnTo>
                    <a:pt x="765" y="525"/>
                  </a:lnTo>
                  <a:lnTo>
                    <a:pt x="774" y="504"/>
                  </a:lnTo>
                  <a:lnTo>
                    <a:pt x="762" y="477"/>
                  </a:lnTo>
                  <a:lnTo>
                    <a:pt x="777" y="453"/>
                  </a:lnTo>
                  <a:lnTo>
                    <a:pt x="741" y="435"/>
                  </a:lnTo>
                  <a:lnTo>
                    <a:pt x="717" y="420"/>
                  </a:lnTo>
                  <a:lnTo>
                    <a:pt x="693" y="429"/>
                  </a:lnTo>
                  <a:lnTo>
                    <a:pt x="660" y="453"/>
                  </a:lnTo>
                  <a:lnTo>
                    <a:pt x="633" y="429"/>
                  </a:lnTo>
                  <a:lnTo>
                    <a:pt x="606" y="405"/>
                  </a:lnTo>
                  <a:lnTo>
                    <a:pt x="576" y="396"/>
                  </a:lnTo>
                  <a:lnTo>
                    <a:pt x="570" y="378"/>
                  </a:lnTo>
                  <a:lnTo>
                    <a:pt x="549" y="375"/>
                  </a:lnTo>
                  <a:lnTo>
                    <a:pt x="519" y="372"/>
                  </a:lnTo>
                  <a:lnTo>
                    <a:pt x="489" y="375"/>
                  </a:lnTo>
                  <a:lnTo>
                    <a:pt x="450" y="381"/>
                  </a:lnTo>
                  <a:lnTo>
                    <a:pt x="381" y="399"/>
                  </a:lnTo>
                  <a:lnTo>
                    <a:pt x="351" y="414"/>
                  </a:lnTo>
                  <a:lnTo>
                    <a:pt x="333" y="429"/>
                  </a:lnTo>
                  <a:lnTo>
                    <a:pt x="303" y="444"/>
                  </a:lnTo>
                  <a:lnTo>
                    <a:pt x="285" y="423"/>
                  </a:lnTo>
                  <a:lnTo>
                    <a:pt x="264" y="441"/>
                  </a:lnTo>
                  <a:lnTo>
                    <a:pt x="237" y="420"/>
                  </a:lnTo>
                  <a:lnTo>
                    <a:pt x="198" y="43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 265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718699" y="4793845"/>
              <a:ext cx="881750" cy="1332484"/>
            </a:xfrm>
            <a:custGeom>
              <a:avLst/>
              <a:gdLst>
                <a:gd name="T0" fmla="*/ 599233 w 951"/>
                <a:gd name="T1" fmla="*/ 116661 h 1041"/>
                <a:gd name="T2" fmla="*/ 696512 w 951"/>
                <a:gd name="T3" fmla="*/ 81662 h 1041"/>
                <a:gd name="T4" fmla="*/ 797681 w 951"/>
                <a:gd name="T5" fmla="*/ 27221 h 1041"/>
                <a:gd name="T6" fmla="*/ 937761 w 951"/>
                <a:gd name="T7" fmla="*/ 23332 h 1041"/>
                <a:gd name="T8" fmla="*/ 1035040 w 951"/>
                <a:gd name="T9" fmla="*/ 0 h 1041"/>
                <a:gd name="T10" fmla="*/ 1093406 w 951"/>
                <a:gd name="T11" fmla="*/ 42776 h 1041"/>
                <a:gd name="T12" fmla="*/ 1132318 w 951"/>
                <a:gd name="T13" fmla="*/ 93329 h 1041"/>
                <a:gd name="T14" fmla="*/ 1202358 w 951"/>
                <a:gd name="T15" fmla="*/ 112772 h 1041"/>
                <a:gd name="T16" fmla="*/ 1085624 w 951"/>
                <a:gd name="T17" fmla="*/ 396646 h 1041"/>
                <a:gd name="T18" fmla="*/ 887177 w 951"/>
                <a:gd name="T19" fmla="*/ 1349375 h 1041"/>
                <a:gd name="T20" fmla="*/ 805463 w 951"/>
                <a:gd name="T21" fmla="*/ 1213271 h 1041"/>
                <a:gd name="T22" fmla="*/ 758770 w 951"/>
                <a:gd name="T23" fmla="*/ 1123831 h 1041"/>
                <a:gd name="T24" fmla="*/ 645927 w 951"/>
                <a:gd name="T25" fmla="*/ 1018836 h 1041"/>
                <a:gd name="T26" fmla="*/ 447480 w 951"/>
                <a:gd name="T27" fmla="*/ 1038280 h 1041"/>
                <a:gd name="T28" fmla="*/ 303508 w 951"/>
                <a:gd name="T29" fmla="*/ 1131608 h 1041"/>
                <a:gd name="T30" fmla="*/ 319072 w 951"/>
                <a:gd name="T31" fmla="*/ 1034391 h 1041"/>
                <a:gd name="T32" fmla="*/ 404677 w 951"/>
                <a:gd name="T33" fmla="*/ 906064 h 1041"/>
                <a:gd name="T34" fmla="*/ 361875 w 951"/>
                <a:gd name="T35" fmla="*/ 847734 h 1041"/>
                <a:gd name="T36" fmla="*/ 307399 w 951"/>
                <a:gd name="T37" fmla="*/ 855511 h 1041"/>
                <a:gd name="T38" fmla="*/ 280161 w 951"/>
                <a:gd name="T39" fmla="*/ 820513 h 1041"/>
                <a:gd name="T40" fmla="*/ 233468 w 951"/>
                <a:gd name="T41" fmla="*/ 801070 h 1041"/>
                <a:gd name="T42" fmla="*/ 214012 w 951"/>
                <a:gd name="T43" fmla="*/ 762183 h 1041"/>
                <a:gd name="T44" fmla="*/ 175101 w 951"/>
                <a:gd name="T45" fmla="*/ 727185 h 1041"/>
                <a:gd name="T46" fmla="*/ 151754 w 951"/>
                <a:gd name="T47" fmla="*/ 664966 h 1041"/>
                <a:gd name="T48" fmla="*/ 140081 w 951"/>
                <a:gd name="T49" fmla="*/ 602747 h 1041"/>
                <a:gd name="T50" fmla="*/ 105060 w 951"/>
                <a:gd name="T51" fmla="*/ 513307 h 1041"/>
                <a:gd name="T52" fmla="*/ 54476 w 951"/>
                <a:gd name="T53" fmla="*/ 412201 h 1041"/>
                <a:gd name="T54" fmla="*/ 0 w 951"/>
                <a:gd name="T55" fmla="*/ 330538 h 1041"/>
                <a:gd name="T56" fmla="*/ 89496 w 951"/>
                <a:gd name="T57" fmla="*/ 330538 h 1041"/>
                <a:gd name="T58" fmla="*/ 159536 w 951"/>
                <a:gd name="T59" fmla="*/ 381091 h 1041"/>
                <a:gd name="T60" fmla="*/ 206230 w 951"/>
                <a:gd name="T61" fmla="*/ 373314 h 1041"/>
                <a:gd name="T62" fmla="*/ 202339 w 951"/>
                <a:gd name="T63" fmla="*/ 346093 h 1041"/>
                <a:gd name="T64" fmla="*/ 155645 w 951"/>
                <a:gd name="T65" fmla="*/ 283874 h 1041"/>
                <a:gd name="T66" fmla="*/ 217903 w 951"/>
                <a:gd name="T67" fmla="*/ 237210 h 1041"/>
                <a:gd name="T68" fmla="*/ 256814 w 951"/>
                <a:gd name="T69" fmla="*/ 174991 h 1041"/>
                <a:gd name="T70" fmla="*/ 307399 w 951"/>
                <a:gd name="T71" fmla="*/ 159436 h 1041"/>
                <a:gd name="T72" fmla="*/ 408568 w 951"/>
                <a:gd name="T73" fmla="*/ 182768 h 1041"/>
                <a:gd name="T74" fmla="*/ 564213 w 951"/>
                <a:gd name="T75" fmla="*/ 229433 h 1041"/>
                <a:gd name="T76" fmla="*/ 642036 w 951"/>
                <a:gd name="T77" fmla="*/ 241099 h 1041"/>
                <a:gd name="T78" fmla="*/ 548649 w 951"/>
                <a:gd name="T79" fmla="*/ 202212 h 1041"/>
                <a:gd name="T80" fmla="*/ 494173 w 951"/>
                <a:gd name="T81" fmla="*/ 151659 h 1041"/>
                <a:gd name="T82" fmla="*/ 536975 w 951"/>
                <a:gd name="T83" fmla="*/ 108883 h 104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51"/>
                <a:gd name="T127" fmla="*/ 0 h 1041"/>
                <a:gd name="T128" fmla="*/ 951 w 951"/>
                <a:gd name="T129" fmla="*/ 1041 h 104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51" h="1041">
                  <a:moveTo>
                    <a:pt x="438" y="66"/>
                  </a:moveTo>
                  <a:lnTo>
                    <a:pt x="462" y="90"/>
                  </a:lnTo>
                  <a:lnTo>
                    <a:pt x="507" y="84"/>
                  </a:lnTo>
                  <a:lnTo>
                    <a:pt x="537" y="63"/>
                  </a:lnTo>
                  <a:lnTo>
                    <a:pt x="582" y="18"/>
                  </a:lnTo>
                  <a:lnTo>
                    <a:pt x="615" y="21"/>
                  </a:lnTo>
                  <a:lnTo>
                    <a:pt x="669" y="24"/>
                  </a:lnTo>
                  <a:lnTo>
                    <a:pt x="723" y="18"/>
                  </a:lnTo>
                  <a:lnTo>
                    <a:pt x="780" y="15"/>
                  </a:lnTo>
                  <a:lnTo>
                    <a:pt x="798" y="0"/>
                  </a:lnTo>
                  <a:lnTo>
                    <a:pt x="822" y="21"/>
                  </a:lnTo>
                  <a:lnTo>
                    <a:pt x="843" y="33"/>
                  </a:lnTo>
                  <a:lnTo>
                    <a:pt x="837" y="63"/>
                  </a:lnTo>
                  <a:lnTo>
                    <a:pt x="873" y="72"/>
                  </a:lnTo>
                  <a:lnTo>
                    <a:pt x="891" y="78"/>
                  </a:lnTo>
                  <a:lnTo>
                    <a:pt x="927" y="87"/>
                  </a:lnTo>
                  <a:lnTo>
                    <a:pt x="951" y="282"/>
                  </a:lnTo>
                  <a:lnTo>
                    <a:pt x="837" y="306"/>
                  </a:lnTo>
                  <a:lnTo>
                    <a:pt x="768" y="1026"/>
                  </a:lnTo>
                  <a:lnTo>
                    <a:pt x="684" y="1041"/>
                  </a:lnTo>
                  <a:lnTo>
                    <a:pt x="651" y="993"/>
                  </a:lnTo>
                  <a:lnTo>
                    <a:pt x="621" y="936"/>
                  </a:lnTo>
                  <a:lnTo>
                    <a:pt x="624" y="897"/>
                  </a:lnTo>
                  <a:lnTo>
                    <a:pt x="585" y="867"/>
                  </a:lnTo>
                  <a:lnTo>
                    <a:pt x="534" y="804"/>
                  </a:lnTo>
                  <a:lnTo>
                    <a:pt x="498" y="786"/>
                  </a:lnTo>
                  <a:lnTo>
                    <a:pt x="414" y="789"/>
                  </a:lnTo>
                  <a:lnTo>
                    <a:pt x="345" y="801"/>
                  </a:lnTo>
                  <a:lnTo>
                    <a:pt x="306" y="825"/>
                  </a:lnTo>
                  <a:lnTo>
                    <a:pt x="234" y="873"/>
                  </a:lnTo>
                  <a:lnTo>
                    <a:pt x="252" y="843"/>
                  </a:lnTo>
                  <a:lnTo>
                    <a:pt x="246" y="798"/>
                  </a:lnTo>
                  <a:lnTo>
                    <a:pt x="285" y="756"/>
                  </a:lnTo>
                  <a:lnTo>
                    <a:pt x="312" y="699"/>
                  </a:lnTo>
                  <a:lnTo>
                    <a:pt x="309" y="672"/>
                  </a:lnTo>
                  <a:lnTo>
                    <a:pt x="279" y="654"/>
                  </a:lnTo>
                  <a:lnTo>
                    <a:pt x="255" y="657"/>
                  </a:lnTo>
                  <a:lnTo>
                    <a:pt x="237" y="660"/>
                  </a:lnTo>
                  <a:lnTo>
                    <a:pt x="237" y="633"/>
                  </a:lnTo>
                  <a:lnTo>
                    <a:pt x="216" y="633"/>
                  </a:lnTo>
                  <a:lnTo>
                    <a:pt x="186" y="648"/>
                  </a:lnTo>
                  <a:lnTo>
                    <a:pt x="180" y="618"/>
                  </a:lnTo>
                  <a:lnTo>
                    <a:pt x="180" y="600"/>
                  </a:lnTo>
                  <a:lnTo>
                    <a:pt x="165" y="588"/>
                  </a:lnTo>
                  <a:lnTo>
                    <a:pt x="159" y="552"/>
                  </a:lnTo>
                  <a:lnTo>
                    <a:pt x="135" y="561"/>
                  </a:lnTo>
                  <a:lnTo>
                    <a:pt x="111" y="558"/>
                  </a:lnTo>
                  <a:lnTo>
                    <a:pt x="117" y="513"/>
                  </a:lnTo>
                  <a:lnTo>
                    <a:pt x="120" y="489"/>
                  </a:lnTo>
                  <a:lnTo>
                    <a:pt x="108" y="465"/>
                  </a:lnTo>
                  <a:lnTo>
                    <a:pt x="87" y="438"/>
                  </a:lnTo>
                  <a:lnTo>
                    <a:pt x="81" y="396"/>
                  </a:lnTo>
                  <a:lnTo>
                    <a:pt x="78" y="336"/>
                  </a:lnTo>
                  <a:lnTo>
                    <a:pt x="42" y="318"/>
                  </a:lnTo>
                  <a:lnTo>
                    <a:pt x="6" y="294"/>
                  </a:lnTo>
                  <a:lnTo>
                    <a:pt x="0" y="255"/>
                  </a:lnTo>
                  <a:lnTo>
                    <a:pt x="18" y="243"/>
                  </a:lnTo>
                  <a:lnTo>
                    <a:pt x="69" y="255"/>
                  </a:lnTo>
                  <a:lnTo>
                    <a:pt x="90" y="261"/>
                  </a:lnTo>
                  <a:lnTo>
                    <a:pt x="123" y="294"/>
                  </a:lnTo>
                  <a:lnTo>
                    <a:pt x="144" y="303"/>
                  </a:lnTo>
                  <a:lnTo>
                    <a:pt x="159" y="288"/>
                  </a:lnTo>
                  <a:lnTo>
                    <a:pt x="183" y="300"/>
                  </a:lnTo>
                  <a:lnTo>
                    <a:pt x="156" y="267"/>
                  </a:lnTo>
                  <a:lnTo>
                    <a:pt x="147" y="243"/>
                  </a:lnTo>
                  <a:lnTo>
                    <a:pt x="120" y="219"/>
                  </a:lnTo>
                  <a:lnTo>
                    <a:pt x="135" y="186"/>
                  </a:lnTo>
                  <a:lnTo>
                    <a:pt x="168" y="183"/>
                  </a:lnTo>
                  <a:lnTo>
                    <a:pt x="168" y="150"/>
                  </a:lnTo>
                  <a:lnTo>
                    <a:pt x="198" y="135"/>
                  </a:lnTo>
                  <a:lnTo>
                    <a:pt x="219" y="141"/>
                  </a:lnTo>
                  <a:lnTo>
                    <a:pt x="237" y="123"/>
                  </a:lnTo>
                  <a:lnTo>
                    <a:pt x="279" y="144"/>
                  </a:lnTo>
                  <a:lnTo>
                    <a:pt x="315" y="141"/>
                  </a:lnTo>
                  <a:lnTo>
                    <a:pt x="372" y="156"/>
                  </a:lnTo>
                  <a:lnTo>
                    <a:pt x="435" y="177"/>
                  </a:lnTo>
                  <a:lnTo>
                    <a:pt x="477" y="180"/>
                  </a:lnTo>
                  <a:lnTo>
                    <a:pt x="495" y="186"/>
                  </a:lnTo>
                  <a:lnTo>
                    <a:pt x="468" y="168"/>
                  </a:lnTo>
                  <a:lnTo>
                    <a:pt x="423" y="156"/>
                  </a:lnTo>
                  <a:lnTo>
                    <a:pt x="399" y="135"/>
                  </a:lnTo>
                  <a:lnTo>
                    <a:pt x="381" y="117"/>
                  </a:lnTo>
                  <a:lnTo>
                    <a:pt x="393" y="102"/>
                  </a:lnTo>
                  <a:lnTo>
                    <a:pt x="414" y="84"/>
                  </a:lnTo>
                  <a:lnTo>
                    <a:pt x="438" y="66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 266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80749" y="4505403"/>
              <a:ext cx="1219925" cy="1409299"/>
            </a:xfrm>
            <a:custGeom>
              <a:avLst/>
              <a:gdLst>
                <a:gd name="T0" fmla="*/ 93297 w 1317"/>
                <a:gd name="T1" fmla="*/ 400539 h 1101"/>
                <a:gd name="T2" fmla="*/ 202144 w 1317"/>
                <a:gd name="T3" fmla="*/ 276100 h 1101"/>
                <a:gd name="T4" fmla="*/ 314878 w 1317"/>
                <a:gd name="T5" fmla="*/ 237212 h 1101"/>
                <a:gd name="T6" fmla="*/ 400401 w 1317"/>
                <a:gd name="T7" fmla="*/ 194436 h 1101"/>
                <a:gd name="T8" fmla="*/ 466486 w 1317"/>
                <a:gd name="T9" fmla="*/ 7777 h 1101"/>
                <a:gd name="T10" fmla="*/ 602545 w 1317"/>
                <a:gd name="T11" fmla="*/ 58331 h 1101"/>
                <a:gd name="T12" fmla="*/ 653081 w 1317"/>
                <a:gd name="T13" fmla="*/ 108884 h 1101"/>
                <a:gd name="T14" fmla="*/ 680292 w 1317"/>
                <a:gd name="T15" fmla="*/ 174993 h 1101"/>
                <a:gd name="T16" fmla="*/ 699729 w 1317"/>
                <a:gd name="T17" fmla="*/ 221657 h 1101"/>
                <a:gd name="T18" fmla="*/ 835788 w 1317"/>
                <a:gd name="T19" fmla="*/ 260545 h 1101"/>
                <a:gd name="T20" fmla="*/ 909648 w 1317"/>
                <a:gd name="T21" fmla="*/ 268322 h 1101"/>
                <a:gd name="T22" fmla="*/ 1006833 w 1317"/>
                <a:gd name="T23" fmla="*/ 303321 h 1101"/>
                <a:gd name="T24" fmla="*/ 1139004 w 1317"/>
                <a:gd name="T25" fmla="*/ 365540 h 1101"/>
                <a:gd name="T26" fmla="*/ 1259513 w 1317"/>
                <a:gd name="T27" fmla="*/ 439426 h 1101"/>
                <a:gd name="T28" fmla="*/ 1492756 w 1317"/>
                <a:gd name="T29" fmla="*/ 447204 h 1101"/>
                <a:gd name="T30" fmla="*/ 1523855 w 1317"/>
                <a:gd name="T31" fmla="*/ 552199 h 1101"/>
                <a:gd name="T32" fmla="*/ 1519968 w 1317"/>
                <a:gd name="T33" fmla="*/ 684416 h 1101"/>
                <a:gd name="T34" fmla="*/ 1593828 w 1317"/>
                <a:gd name="T35" fmla="*/ 789412 h 1101"/>
                <a:gd name="T36" fmla="*/ 1593828 w 1317"/>
                <a:gd name="T37" fmla="*/ 929406 h 1101"/>
                <a:gd name="T38" fmla="*/ 1702675 w 1317"/>
                <a:gd name="T39" fmla="*/ 991625 h 1101"/>
                <a:gd name="T40" fmla="*/ 1701379 w 1317"/>
                <a:gd name="T41" fmla="*/ 1040883 h 1101"/>
                <a:gd name="T42" fmla="*/ 1663801 w 1317"/>
                <a:gd name="T43" fmla="*/ 1065511 h 1101"/>
                <a:gd name="T44" fmla="*/ 1659913 w 1317"/>
                <a:gd name="T45" fmla="*/ 1174396 h 1101"/>
                <a:gd name="T46" fmla="*/ 1586053 w 1317"/>
                <a:gd name="T47" fmla="*/ 1259947 h 1101"/>
                <a:gd name="T48" fmla="*/ 1403346 w 1317"/>
                <a:gd name="T49" fmla="*/ 1399942 h 1101"/>
                <a:gd name="T50" fmla="*/ 1337261 w 1317"/>
                <a:gd name="T51" fmla="*/ 1427163 h 1101"/>
                <a:gd name="T52" fmla="*/ 1372247 w 1317"/>
                <a:gd name="T53" fmla="*/ 1361055 h 1101"/>
                <a:gd name="T54" fmla="*/ 1337261 w 1317"/>
                <a:gd name="T55" fmla="*/ 1302723 h 1101"/>
                <a:gd name="T56" fmla="*/ 1267287 w 1317"/>
                <a:gd name="T57" fmla="*/ 1189950 h 1101"/>
                <a:gd name="T58" fmla="*/ 1177878 w 1317"/>
                <a:gd name="T59" fmla="*/ 1139397 h 1101"/>
                <a:gd name="T60" fmla="*/ 1057369 w 1317"/>
                <a:gd name="T61" fmla="*/ 1127731 h 1101"/>
                <a:gd name="T62" fmla="*/ 874662 w 1317"/>
                <a:gd name="T63" fmla="*/ 1100510 h 1101"/>
                <a:gd name="T64" fmla="*/ 688067 w 1317"/>
                <a:gd name="T65" fmla="*/ 1116065 h 1101"/>
                <a:gd name="T66" fmla="*/ 567558 w 1317"/>
                <a:gd name="T67" fmla="*/ 1123842 h 1101"/>
                <a:gd name="T68" fmla="*/ 419838 w 1317"/>
                <a:gd name="T69" fmla="*/ 937183 h 1101"/>
                <a:gd name="T70" fmla="*/ 318766 w 1317"/>
                <a:gd name="T71" fmla="*/ 851631 h 1101"/>
                <a:gd name="T72" fmla="*/ 0 w 1317"/>
                <a:gd name="T73" fmla="*/ 497757 h 1101"/>
                <a:gd name="T74" fmla="*/ 73860 w 1317"/>
                <a:gd name="T75" fmla="*/ 427760 h 110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17"/>
                <a:gd name="T115" fmla="*/ 0 h 1101"/>
                <a:gd name="T116" fmla="*/ 1317 w 1317"/>
                <a:gd name="T117" fmla="*/ 1101 h 110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17" h="1101">
                  <a:moveTo>
                    <a:pt x="45" y="345"/>
                  </a:moveTo>
                  <a:lnTo>
                    <a:pt x="72" y="309"/>
                  </a:lnTo>
                  <a:lnTo>
                    <a:pt x="105" y="270"/>
                  </a:lnTo>
                  <a:lnTo>
                    <a:pt x="156" y="213"/>
                  </a:lnTo>
                  <a:lnTo>
                    <a:pt x="207" y="189"/>
                  </a:lnTo>
                  <a:lnTo>
                    <a:pt x="243" y="183"/>
                  </a:lnTo>
                  <a:lnTo>
                    <a:pt x="252" y="147"/>
                  </a:lnTo>
                  <a:lnTo>
                    <a:pt x="309" y="150"/>
                  </a:lnTo>
                  <a:cubicBezTo>
                    <a:pt x="329" y="101"/>
                    <a:pt x="351" y="53"/>
                    <a:pt x="369" y="3"/>
                  </a:cubicBezTo>
                  <a:cubicBezTo>
                    <a:pt x="370" y="0"/>
                    <a:pt x="360" y="6"/>
                    <a:pt x="360" y="6"/>
                  </a:cubicBezTo>
                  <a:lnTo>
                    <a:pt x="438" y="9"/>
                  </a:lnTo>
                  <a:lnTo>
                    <a:pt x="465" y="45"/>
                  </a:lnTo>
                  <a:lnTo>
                    <a:pt x="477" y="69"/>
                  </a:lnTo>
                  <a:lnTo>
                    <a:pt x="504" y="84"/>
                  </a:lnTo>
                  <a:lnTo>
                    <a:pt x="525" y="114"/>
                  </a:lnTo>
                  <a:lnTo>
                    <a:pt x="525" y="135"/>
                  </a:lnTo>
                  <a:lnTo>
                    <a:pt x="573" y="144"/>
                  </a:lnTo>
                  <a:lnTo>
                    <a:pt x="540" y="171"/>
                  </a:lnTo>
                  <a:lnTo>
                    <a:pt x="609" y="162"/>
                  </a:lnTo>
                  <a:lnTo>
                    <a:pt x="645" y="201"/>
                  </a:lnTo>
                  <a:lnTo>
                    <a:pt x="690" y="222"/>
                  </a:lnTo>
                  <a:lnTo>
                    <a:pt x="702" y="207"/>
                  </a:lnTo>
                  <a:lnTo>
                    <a:pt x="762" y="249"/>
                  </a:lnTo>
                  <a:lnTo>
                    <a:pt x="777" y="234"/>
                  </a:lnTo>
                  <a:lnTo>
                    <a:pt x="864" y="294"/>
                  </a:lnTo>
                  <a:lnTo>
                    <a:pt x="879" y="282"/>
                  </a:lnTo>
                  <a:lnTo>
                    <a:pt x="948" y="345"/>
                  </a:lnTo>
                  <a:lnTo>
                    <a:pt x="972" y="339"/>
                  </a:lnTo>
                  <a:lnTo>
                    <a:pt x="1095" y="351"/>
                  </a:lnTo>
                  <a:lnTo>
                    <a:pt x="1152" y="345"/>
                  </a:lnTo>
                  <a:lnTo>
                    <a:pt x="1152" y="396"/>
                  </a:lnTo>
                  <a:lnTo>
                    <a:pt x="1176" y="426"/>
                  </a:lnTo>
                  <a:lnTo>
                    <a:pt x="1158" y="504"/>
                  </a:lnTo>
                  <a:lnTo>
                    <a:pt x="1173" y="528"/>
                  </a:lnTo>
                  <a:lnTo>
                    <a:pt x="1215" y="540"/>
                  </a:lnTo>
                  <a:lnTo>
                    <a:pt x="1230" y="609"/>
                  </a:lnTo>
                  <a:lnTo>
                    <a:pt x="1227" y="675"/>
                  </a:lnTo>
                  <a:lnTo>
                    <a:pt x="1230" y="717"/>
                  </a:lnTo>
                  <a:lnTo>
                    <a:pt x="1266" y="723"/>
                  </a:lnTo>
                  <a:lnTo>
                    <a:pt x="1314" y="765"/>
                  </a:lnTo>
                  <a:lnTo>
                    <a:pt x="1297" y="787"/>
                  </a:lnTo>
                  <a:lnTo>
                    <a:pt x="1313" y="803"/>
                  </a:lnTo>
                  <a:lnTo>
                    <a:pt x="1317" y="829"/>
                  </a:lnTo>
                  <a:lnTo>
                    <a:pt x="1284" y="822"/>
                  </a:lnTo>
                  <a:lnTo>
                    <a:pt x="1287" y="882"/>
                  </a:lnTo>
                  <a:lnTo>
                    <a:pt x="1281" y="906"/>
                  </a:lnTo>
                  <a:lnTo>
                    <a:pt x="1299" y="924"/>
                  </a:lnTo>
                  <a:lnTo>
                    <a:pt x="1224" y="972"/>
                  </a:lnTo>
                  <a:lnTo>
                    <a:pt x="1146" y="1032"/>
                  </a:lnTo>
                  <a:lnTo>
                    <a:pt x="1083" y="1080"/>
                  </a:lnTo>
                  <a:lnTo>
                    <a:pt x="1050" y="1098"/>
                  </a:lnTo>
                  <a:lnTo>
                    <a:pt x="1032" y="1101"/>
                  </a:lnTo>
                  <a:lnTo>
                    <a:pt x="1062" y="1092"/>
                  </a:lnTo>
                  <a:lnTo>
                    <a:pt x="1059" y="1050"/>
                  </a:lnTo>
                  <a:lnTo>
                    <a:pt x="1059" y="984"/>
                  </a:lnTo>
                  <a:lnTo>
                    <a:pt x="1032" y="1005"/>
                  </a:lnTo>
                  <a:lnTo>
                    <a:pt x="1008" y="969"/>
                  </a:lnTo>
                  <a:lnTo>
                    <a:pt x="978" y="918"/>
                  </a:lnTo>
                  <a:lnTo>
                    <a:pt x="942" y="903"/>
                  </a:lnTo>
                  <a:lnTo>
                    <a:pt x="909" y="879"/>
                  </a:lnTo>
                  <a:lnTo>
                    <a:pt x="882" y="834"/>
                  </a:lnTo>
                  <a:lnTo>
                    <a:pt x="816" y="870"/>
                  </a:lnTo>
                  <a:lnTo>
                    <a:pt x="756" y="861"/>
                  </a:lnTo>
                  <a:lnTo>
                    <a:pt x="675" y="849"/>
                  </a:lnTo>
                  <a:lnTo>
                    <a:pt x="627" y="852"/>
                  </a:lnTo>
                  <a:lnTo>
                    <a:pt x="531" y="861"/>
                  </a:lnTo>
                  <a:lnTo>
                    <a:pt x="489" y="876"/>
                  </a:lnTo>
                  <a:lnTo>
                    <a:pt x="438" y="867"/>
                  </a:lnTo>
                  <a:lnTo>
                    <a:pt x="402" y="819"/>
                  </a:lnTo>
                  <a:lnTo>
                    <a:pt x="324" y="723"/>
                  </a:lnTo>
                  <a:lnTo>
                    <a:pt x="318" y="696"/>
                  </a:lnTo>
                  <a:lnTo>
                    <a:pt x="246" y="657"/>
                  </a:lnTo>
                  <a:lnTo>
                    <a:pt x="24" y="420"/>
                  </a:lnTo>
                  <a:lnTo>
                    <a:pt x="0" y="384"/>
                  </a:lnTo>
                  <a:lnTo>
                    <a:pt x="33" y="360"/>
                  </a:lnTo>
                  <a:lnTo>
                    <a:pt x="57" y="330"/>
                  </a:lnTo>
                  <a:lnTo>
                    <a:pt x="45" y="345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 267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839666" y="4958446"/>
              <a:ext cx="694505" cy="1414002"/>
            </a:xfrm>
            <a:custGeom>
              <a:avLst/>
              <a:gdLst>
                <a:gd name="T0" fmla="*/ 299237 w 750"/>
                <a:gd name="T1" fmla="*/ 19455 h 1104"/>
                <a:gd name="T2" fmla="*/ 540182 w 750"/>
                <a:gd name="T3" fmla="*/ 58367 h 1104"/>
                <a:gd name="T4" fmla="*/ 614020 w 750"/>
                <a:gd name="T5" fmla="*/ 249030 h 1104"/>
                <a:gd name="T6" fmla="*/ 687857 w 750"/>
                <a:gd name="T7" fmla="*/ 412457 h 1104"/>
                <a:gd name="T8" fmla="*/ 680085 w 750"/>
                <a:gd name="T9" fmla="*/ 536972 h 1104"/>
                <a:gd name="T10" fmla="*/ 645109 w 750"/>
                <a:gd name="T11" fmla="*/ 673160 h 1104"/>
                <a:gd name="T12" fmla="*/ 761695 w 750"/>
                <a:gd name="T13" fmla="*/ 723745 h 1104"/>
                <a:gd name="T14" fmla="*/ 819988 w 750"/>
                <a:gd name="T15" fmla="*/ 817131 h 1104"/>
                <a:gd name="T16" fmla="*/ 882167 w 750"/>
                <a:gd name="T17" fmla="*/ 867715 h 1104"/>
                <a:gd name="T18" fmla="*/ 971550 w 750"/>
                <a:gd name="T19" fmla="*/ 957211 h 1104"/>
                <a:gd name="T20" fmla="*/ 913257 w 750"/>
                <a:gd name="T21" fmla="*/ 1015577 h 1104"/>
                <a:gd name="T22" fmla="*/ 854964 w 750"/>
                <a:gd name="T23" fmla="*/ 1019468 h 1104"/>
                <a:gd name="T24" fmla="*/ 777240 w 750"/>
                <a:gd name="T25" fmla="*/ 1116746 h 1104"/>
                <a:gd name="T26" fmla="*/ 680085 w 750"/>
                <a:gd name="T27" fmla="*/ 1132310 h 1104"/>
                <a:gd name="T28" fmla="*/ 641223 w 750"/>
                <a:gd name="T29" fmla="*/ 1175112 h 1104"/>
                <a:gd name="T30" fmla="*/ 571271 w 750"/>
                <a:gd name="T31" fmla="*/ 1249043 h 1104"/>
                <a:gd name="T32" fmla="*/ 497434 w 750"/>
                <a:gd name="T33" fmla="*/ 1361885 h 1104"/>
                <a:gd name="T34" fmla="*/ 466344 w 750"/>
                <a:gd name="T35" fmla="*/ 1431925 h 1104"/>
                <a:gd name="T36" fmla="*/ 369189 w 750"/>
                <a:gd name="T37" fmla="*/ 1357994 h 1104"/>
                <a:gd name="T38" fmla="*/ 376961 w 750"/>
                <a:gd name="T39" fmla="*/ 1311301 h 1104"/>
                <a:gd name="T40" fmla="*/ 209855 w 750"/>
                <a:gd name="T41" fmla="*/ 1287954 h 1104"/>
                <a:gd name="T42" fmla="*/ 143789 w 750"/>
                <a:gd name="T43" fmla="*/ 1210132 h 1104"/>
                <a:gd name="T44" fmla="*/ 11659 w 750"/>
                <a:gd name="T45" fmla="*/ 1085617 h 1104"/>
                <a:gd name="T46" fmla="*/ 34976 w 750"/>
                <a:gd name="T47" fmla="*/ 961102 h 1104"/>
                <a:gd name="T48" fmla="*/ 194310 w 750"/>
                <a:gd name="T49" fmla="*/ 840478 h 1104"/>
                <a:gd name="T50" fmla="*/ 334213 w 750"/>
                <a:gd name="T51" fmla="*/ 747091 h 1104"/>
                <a:gd name="T52" fmla="*/ 326441 w 750"/>
                <a:gd name="T53" fmla="*/ 638140 h 1104"/>
                <a:gd name="T54" fmla="*/ 361417 w 750"/>
                <a:gd name="T55" fmla="*/ 614794 h 1104"/>
                <a:gd name="T56" fmla="*/ 338099 w 750"/>
                <a:gd name="T57" fmla="*/ 560318 h 1104"/>
                <a:gd name="T58" fmla="*/ 299237 w 750"/>
                <a:gd name="T59" fmla="*/ 478605 h 1104"/>
                <a:gd name="T60" fmla="*/ 248717 w 750"/>
                <a:gd name="T61" fmla="*/ 443585 h 1104"/>
                <a:gd name="T62" fmla="*/ 233172 w 750"/>
                <a:gd name="T63" fmla="*/ 241248 h 1104"/>
                <a:gd name="T64" fmla="*/ 155448 w 750"/>
                <a:gd name="T65" fmla="*/ 202337 h 1104"/>
                <a:gd name="T66" fmla="*/ 186538 w 750"/>
                <a:gd name="T67" fmla="*/ 89495 h 1104"/>
                <a:gd name="T68" fmla="*/ 151562 w 750"/>
                <a:gd name="T69" fmla="*/ 27238 h 110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50"/>
                <a:gd name="T106" fmla="*/ 0 h 1104"/>
                <a:gd name="T107" fmla="*/ 750 w 750"/>
                <a:gd name="T108" fmla="*/ 1104 h 110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50" h="1104">
                  <a:moveTo>
                    <a:pt x="117" y="21"/>
                  </a:moveTo>
                  <a:lnTo>
                    <a:pt x="231" y="15"/>
                  </a:lnTo>
                  <a:lnTo>
                    <a:pt x="378" y="0"/>
                  </a:lnTo>
                  <a:lnTo>
                    <a:pt x="417" y="45"/>
                  </a:lnTo>
                  <a:lnTo>
                    <a:pt x="456" y="150"/>
                  </a:lnTo>
                  <a:lnTo>
                    <a:pt x="474" y="192"/>
                  </a:lnTo>
                  <a:lnTo>
                    <a:pt x="507" y="237"/>
                  </a:lnTo>
                  <a:lnTo>
                    <a:pt x="531" y="318"/>
                  </a:lnTo>
                  <a:lnTo>
                    <a:pt x="537" y="375"/>
                  </a:lnTo>
                  <a:lnTo>
                    <a:pt x="525" y="414"/>
                  </a:lnTo>
                  <a:lnTo>
                    <a:pt x="522" y="444"/>
                  </a:lnTo>
                  <a:lnTo>
                    <a:pt x="498" y="519"/>
                  </a:lnTo>
                  <a:lnTo>
                    <a:pt x="531" y="543"/>
                  </a:lnTo>
                  <a:lnTo>
                    <a:pt x="588" y="558"/>
                  </a:lnTo>
                  <a:lnTo>
                    <a:pt x="615" y="588"/>
                  </a:lnTo>
                  <a:lnTo>
                    <a:pt x="633" y="630"/>
                  </a:lnTo>
                  <a:cubicBezTo>
                    <a:pt x="633" y="638"/>
                    <a:pt x="633" y="646"/>
                    <a:pt x="633" y="654"/>
                  </a:cubicBezTo>
                  <a:lnTo>
                    <a:pt x="681" y="669"/>
                  </a:lnTo>
                  <a:lnTo>
                    <a:pt x="717" y="705"/>
                  </a:lnTo>
                  <a:lnTo>
                    <a:pt x="750" y="738"/>
                  </a:lnTo>
                  <a:lnTo>
                    <a:pt x="726" y="756"/>
                  </a:lnTo>
                  <a:lnTo>
                    <a:pt x="705" y="783"/>
                  </a:lnTo>
                  <a:lnTo>
                    <a:pt x="678" y="768"/>
                  </a:lnTo>
                  <a:lnTo>
                    <a:pt x="660" y="786"/>
                  </a:lnTo>
                  <a:lnTo>
                    <a:pt x="630" y="840"/>
                  </a:lnTo>
                  <a:lnTo>
                    <a:pt x="600" y="861"/>
                  </a:lnTo>
                  <a:lnTo>
                    <a:pt x="561" y="855"/>
                  </a:lnTo>
                  <a:lnTo>
                    <a:pt x="525" y="873"/>
                  </a:lnTo>
                  <a:lnTo>
                    <a:pt x="510" y="888"/>
                  </a:lnTo>
                  <a:lnTo>
                    <a:pt x="495" y="906"/>
                  </a:lnTo>
                  <a:lnTo>
                    <a:pt x="459" y="927"/>
                  </a:lnTo>
                  <a:lnTo>
                    <a:pt x="441" y="963"/>
                  </a:lnTo>
                  <a:lnTo>
                    <a:pt x="417" y="987"/>
                  </a:lnTo>
                  <a:lnTo>
                    <a:pt x="384" y="1050"/>
                  </a:lnTo>
                  <a:lnTo>
                    <a:pt x="399" y="1104"/>
                  </a:lnTo>
                  <a:lnTo>
                    <a:pt x="360" y="1104"/>
                  </a:lnTo>
                  <a:lnTo>
                    <a:pt x="315" y="1080"/>
                  </a:lnTo>
                  <a:lnTo>
                    <a:pt x="285" y="1047"/>
                  </a:lnTo>
                  <a:lnTo>
                    <a:pt x="303" y="1026"/>
                  </a:lnTo>
                  <a:lnTo>
                    <a:pt x="291" y="1011"/>
                  </a:lnTo>
                  <a:lnTo>
                    <a:pt x="246" y="987"/>
                  </a:lnTo>
                  <a:lnTo>
                    <a:pt x="162" y="993"/>
                  </a:lnTo>
                  <a:lnTo>
                    <a:pt x="138" y="996"/>
                  </a:lnTo>
                  <a:lnTo>
                    <a:pt x="111" y="933"/>
                  </a:lnTo>
                  <a:lnTo>
                    <a:pt x="93" y="846"/>
                  </a:lnTo>
                  <a:lnTo>
                    <a:pt x="9" y="837"/>
                  </a:lnTo>
                  <a:lnTo>
                    <a:pt x="0" y="744"/>
                  </a:lnTo>
                  <a:lnTo>
                    <a:pt x="27" y="741"/>
                  </a:lnTo>
                  <a:lnTo>
                    <a:pt x="69" y="714"/>
                  </a:lnTo>
                  <a:lnTo>
                    <a:pt x="150" y="648"/>
                  </a:lnTo>
                  <a:lnTo>
                    <a:pt x="189" y="615"/>
                  </a:lnTo>
                  <a:lnTo>
                    <a:pt x="258" y="576"/>
                  </a:lnTo>
                  <a:lnTo>
                    <a:pt x="243" y="543"/>
                  </a:lnTo>
                  <a:lnTo>
                    <a:pt x="252" y="492"/>
                  </a:lnTo>
                  <a:lnTo>
                    <a:pt x="249" y="465"/>
                  </a:lnTo>
                  <a:lnTo>
                    <a:pt x="279" y="474"/>
                  </a:lnTo>
                  <a:lnTo>
                    <a:pt x="276" y="450"/>
                  </a:lnTo>
                  <a:lnTo>
                    <a:pt x="261" y="432"/>
                  </a:lnTo>
                  <a:lnTo>
                    <a:pt x="279" y="411"/>
                  </a:lnTo>
                  <a:lnTo>
                    <a:pt x="231" y="369"/>
                  </a:lnTo>
                  <a:lnTo>
                    <a:pt x="198" y="363"/>
                  </a:lnTo>
                  <a:lnTo>
                    <a:pt x="192" y="342"/>
                  </a:lnTo>
                  <a:lnTo>
                    <a:pt x="195" y="267"/>
                  </a:lnTo>
                  <a:lnTo>
                    <a:pt x="180" y="186"/>
                  </a:lnTo>
                  <a:lnTo>
                    <a:pt x="150" y="180"/>
                  </a:lnTo>
                  <a:lnTo>
                    <a:pt x="120" y="156"/>
                  </a:lnTo>
                  <a:lnTo>
                    <a:pt x="135" y="102"/>
                  </a:lnTo>
                  <a:lnTo>
                    <a:pt x="144" y="69"/>
                  </a:lnTo>
                  <a:lnTo>
                    <a:pt x="114" y="45"/>
                  </a:lnTo>
                  <a:lnTo>
                    <a:pt x="117" y="21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 268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383470" y="3530337"/>
              <a:ext cx="1898544" cy="1454760"/>
            </a:xfrm>
            <a:custGeom>
              <a:avLst/>
              <a:gdLst>
                <a:gd name="T0" fmla="*/ 264422 w 2049"/>
                <a:gd name="T1" fmla="*/ 878478 h 1137"/>
                <a:gd name="T2" fmla="*/ 307196 w 2049"/>
                <a:gd name="T3" fmla="*/ 789075 h 1137"/>
                <a:gd name="T4" fmla="*/ 423853 w 2049"/>
                <a:gd name="T5" fmla="*/ 742431 h 1137"/>
                <a:gd name="T6" fmla="*/ 563841 w 2049"/>
                <a:gd name="T7" fmla="*/ 711334 h 1137"/>
                <a:gd name="T8" fmla="*/ 649390 w 2049"/>
                <a:gd name="T9" fmla="*/ 633592 h 1137"/>
                <a:gd name="T10" fmla="*/ 773824 w 2049"/>
                <a:gd name="T11" fmla="*/ 462561 h 1137"/>
                <a:gd name="T12" fmla="*/ 867149 w 2049"/>
                <a:gd name="T13" fmla="*/ 342062 h 1137"/>
                <a:gd name="T14" fmla="*/ 867149 w 2049"/>
                <a:gd name="T15" fmla="*/ 252660 h 1137"/>
                <a:gd name="T16" fmla="*/ 991583 w 2049"/>
                <a:gd name="T17" fmla="*/ 252660 h 1137"/>
                <a:gd name="T18" fmla="*/ 979918 w 2049"/>
                <a:gd name="T19" fmla="*/ 373159 h 1137"/>
                <a:gd name="T20" fmla="*/ 1081020 w 2049"/>
                <a:gd name="T21" fmla="*/ 353723 h 1137"/>
                <a:gd name="T22" fmla="*/ 1131571 w 2049"/>
                <a:gd name="T23" fmla="*/ 361498 h 1137"/>
                <a:gd name="T24" fmla="*/ 1221008 w 2049"/>
                <a:gd name="T25" fmla="*/ 384820 h 1137"/>
                <a:gd name="T26" fmla="*/ 1287114 w 2049"/>
                <a:gd name="T27" fmla="*/ 334288 h 1137"/>
                <a:gd name="T28" fmla="*/ 1353220 w 2049"/>
                <a:gd name="T29" fmla="*/ 268208 h 1137"/>
                <a:gd name="T30" fmla="*/ 1481542 w 2049"/>
                <a:gd name="T31" fmla="*/ 194354 h 1137"/>
                <a:gd name="T32" fmla="*/ 1543759 w 2049"/>
                <a:gd name="T33" fmla="*/ 264321 h 1137"/>
                <a:gd name="T34" fmla="*/ 1617642 w 2049"/>
                <a:gd name="T35" fmla="*/ 202128 h 1137"/>
                <a:gd name="T36" fmla="*/ 1695413 w 2049"/>
                <a:gd name="T37" fmla="*/ 108838 h 1137"/>
                <a:gd name="T38" fmla="*/ 1691524 w 2049"/>
                <a:gd name="T39" fmla="*/ 27209 h 1137"/>
                <a:gd name="T40" fmla="*/ 1815958 w 2049"/>
                <a:gd name="T41" fmla="*/ 15548 h 1137"/>
                <a:gd name="T42" fmla="*/ 1839290 w 2049"/>
                <a:gd name="T43" fmla="*/ 108838 h 1137"/>
                <a:gd name="T44" fmla="*/ 1924838 w 2049"/>
                <a:gd name="T45" fmla="*/ 151596 h 1137"/>
                <a:gd name="T46" fmla="*/ 2025941 w 2049"/>
                <a:gd name="T47" fmla="*/ 206015 h 1137"/>
                <a:gd name="T48" fmla="*/ 2049272 w 2049"/>
                <a:gd name="T49" fmla="*/ 291530 h 1137"/>
                <a:gd name="T50" fmla="*/ 2200926 w 2049"/>
                <a:gd name="T51" fmla="*/ 206015 h 1137"/>
                <a:gd name="T52" fmla="*/ 2298140 w 2049"/>
                <a:gd name="T53" fmla="*/ 182692 h 1137"/>
                <a:gd name="T54" fmla="*/ 2337025 w 2049"/>
                <a:gd name="T55" fmla="*/ 66080 h 1137"/>
                <a:gd name="T56" fmla="*/ 2473125 w 2049"/>
                <a:gd name="T57" fmla="*/ 139935 h 1137"/>
                <a:gd name="T58" fmla="*/ 2414797 w 2049"/>
                <a:gd name="T59" fmla="*/ 237111 h 1137"/>
                <a:gd name="T60" fmla="*/ 2422574 w 2049"/>
                <a:gd name="T61" fmla="*/ 353723 h 1137"/>
                <a:gd name="T62" fmla="*/ 2445905 w 2049"/>
                <a:gd name="T63" fmla="*/ 470336 h 1137"/>
                <a:gd name="T64" fmla="*/ 2500345 w 2049"/>
                <a:gd name="T65" fmla="*/ 579174 h 1137"/>
                <a:gd name="T66" fmla="*/ 2430351 w 2049"/>
                <a:gd name="T67" fmla="*/ 641367 h 1137"/>
                <a:gd name="T68" fmla="*/ 2523676 w 2049"/>
                <a:gd name="T69" fmla="*/ 711334 h 1137"/>
                <a:gd name="T70" fmla="*/ 2512011 w 2049"/>
                <a:gd name="T71" fmla="*/ 882365 h 1137"/>
                <a:gd name="T72" fmla="*/ 2519788 w 2049"/>
                <a:gd name="T73" fmla="*/ 979542 h 1137"/>
                <a:gd name="T74" fmla="*/ 2655888 w 2049"/>
                <a:gd name="T75" fmla="*/ 1072832 h 1137"/>
                <a:gd name="T76" fmla="*/ 2535342 w 2049"/>
                <a:gd name="T77" fmla="*/ 1131138 h 1137"/>
                <a:gd name="T78" fmla="*/ 2278697 w 2049"/>
                <a:gd name="T79" fmla="*/ 1119476 h 1137"/>
                <a:gd name="T80" fmla="*/ 2033718 w 2049"/>
                <a:gd name="T81" fmla="*/ 1341040 h 1137"/>
                <a:gd name="T82" fmla="*/ 1360997 w 2049"/>
                <a:gd name="T83" fmla="*/ 1414894 h 1137"/>
                <a:gd name="T84" fmla="*/ 785490 w 2049"/>
                <a:gd name="T85" fmla="*/ 1438216 h 1137"/>
                <a:gd name="T86" fmla="*/ 552176 w 2049"/>
                <a:gd name="T87" fmla="*/ 1426555 h 1137"/>
                <a:gd name="T88" fmla="*/ 466627 w 2049"/>
                <a:gd name="T89" fmla="*/ 1376023 h 1137"/>
                <a:gd name="T90" fmla="*/ 381079 w 2049"/>
                <a:gd name="T91" fmla="*/ 1344927 h 1137"/>
                <a:gd name="T92" fmla="*/ 279976 w 2049"/>
                <a:gd name="T93" fmla="*/ 1306056 h 1137"/>
                <a:gd name="T94" fmla="*/ 136100 w 2049"/>
                <a:gd name="T95" fmla="*/ 1247750 h 1137"/>
                <a:gd name="T96" fmla="*/ 58328 w 2049"/>
                <a:gd name="T97" fmla="*/ 1166121 h 1137"/>
                <a:gd name="T98" fmla="*/ 229425 w 2049"/>
                <a:gd name="T99" fmla="*/ 944558 h 113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049"/>
                <a:gd name="T151" fmla="*/ 0 h 1137"/>
                <a:gd name="T152" fmla="*/ 2049 w 2049"/>
                <a:gd name="T153" fmla="*/ 1137 h 113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049" h="1137">
                  <a:moveTo>
                    <a:pt x="177" y="729"/>
                  </a:moveTo>
                  <a:lnTo>
                    <a:pt x="183" y="696"/>
                  </a:lnTo>
                  <a:lnTo>
                    <a:pt x="204" y="678"/>
                  </a:lnTo>
                  <a:lnTo>
                    <a:pt x="198" y="651"/>
                  </a:lnTo>
                  <a:lnTo>
                    <a:pt x="237" y="639"/>
                  </a:lnTo>
                  <a:lnTo>
                    <a:pt x="237" y="609"/>
                  </a:lnTo>
                  <a:lnTo>
                    <a:pt x="267" y="600"/>
                  </a:lnTo>
                  <a:lnTo>
                    <a:pt x="270" y="558"/>
                  </a:lnTo>
                  <a:lnTo>
                    <a:pt x="327" y="573"/>
                  </a:lnTo>
                  <a:lnTo>
                    <a:pt x="369" y="579"/>
                  </a:lnTo>
                  <a:lnTo>
                    <a:pt x="411" y="543"/>
                  </a:lnTo>
                  <a:lnTo>
                    <a:pt x="435" y="549"/>
                  </a:lnTo>
                  <a:lnTo>
                    <a:pt x="459" y="522"/>
                  </a:lnTo>
                  <a:lnTo>
                    <a:pt x="471" y="492"/>
                  </a:lnTo>
                  <a:lnTo>
                    <a:pt x="501" y="489"/>
                  </a:lnTo>
                  <a:lnTo>
                    <a:pt x="507" y="438"/>
                  </a:lnTo>
                  <a:lnTo>
                    <a:pt x="564" y="411"/>
                  </a:lnTo>
                  <a:lnTo>
                    <a:pt x="597" y="357"/>
                  </a:lnTo>
                  <a:lnTo>
                    <a:pt x="621" y="318"/>
                  </a:lnTo>
                  <a:lnTo>
                    <a:pt x="618" y="291"/>
                  </a:lnTo>
                  <a:lnTo>
                    <a:pt x="669" y="264"/>
                  </a:lnTo>
                  <a:lnTo>
                    <a:pt x="672" y="243"/>
                  </a:lnTo>
                  <a:lnTo>
                    <a:pt x="654" y="213"/>
                  </a:lnTo>
                  <a:lnTo>
                    <a:pt x="669" y="195"/>
                  </a:lnTo>
                  <a:lnTo>
                    <a:pt x="717" y="180"/>
                  </a:lnTo>
                  <a:lnTo>
                    <a:pt x="753" y="174"/>
                  </a:lnTo>
                  <a:lnTo>
                    <a:pt x="765" y="195"/>
                  </a:lnTo>
                  <a:lnTo>
                    <a:pt x="759" y="222"/>
                  </a:lnTo>
                  <a:lnTo>
                    <a:pt x="750" y="261"/>
                  </a:lnTo>
                  <a:lnTo>
                    <a:pt x="756" y="288"/>
                  </a:lnTo>
                  <a:lnTo>
                    <a:pt x="789" y="300"/>
                  </a:lnTo>
                  <a:lnTo>
                    <a:pt x="813" y="294"/>
                  </a:lnTo>
                  <a:lnTo>
                    <a:pt x="834" y="273"/>
                  </a:lnTo>
                  <a:lnTo>
                    <a:pt x="828" y="243"/>
                  </a:lnTo>
                  <a:lnTo>
                    <a:pt x="846" y="243"/>
                  </a:lnTo>
                  <a:lnTo>
                    <a:pt x="873" y="279"/>
                  </a:lnTo>
                  <a:lnTo>
                    <a:pt x="930" y="261"/>
                  </a:lnTo>
                  <a:lnTo>
                    <a:pt x="945" y="276"/>
                  </a:lnTo>
                  <a:lnTo>
                    <a:pt x="942" y="297"/>
                  </a:lnTo>
                  <a:lnTo>
                    <a:pt x="975" y="288"/>
                  </a:lnTo>
                  <a:lnTo>
                    <a:pt x="999" y="279"/>
                  </a:lnTo>
                  <a:lnTo>
                    <a:pt x="993" y="258"/>
                  </a:lnTo>
                  <a:lnTo>
                    <a:pt x="1020" y="240"/>
                  </a:lnTo>
                  <a:lnTo>
                    <a:pt x="1020" y="207"/>
                  </a:lnTo>
                  <a:lnTo>
                    <a:pt x="1044" y="207"/>
                  </a:lnTo>
                  <a:lnTo>
                    <a:pt x="1080" y="165"/>
                  </a:lnTo>
                  <a:lnTo>
                    <a:pt x="1110" y="141"/>
                  </a:lnTo>
                  <a:lnTo>
                    <a:pt x="1143" y="150"/>
                  </a:lnTo>
                  <a:lnTo>
                    <a:pt x="1146" y="201"/>
                  </a:lnTo>
                  <a:lnTo>
                    <a:pt x="1167" y="183"/>
                  </a:lnTo>
                  <a:lnTo>
                    <a:pt x="1191" y="204"/>
                  </a:lnTo>
                  <a:lnTo>
                    <a:pt x="1206" y="165"/>
                  </a:lnTo>
                  <a:lnTo>
                    <a:pt x="1224" y="177"/>
                  </a:lnTo>
                  <a:lnTo>
                    <a:pt x="1248" y="156"/>
                  </a:lnTo>
                  <a:lnTo>
                    <a:pt x="1233" y="126"/>
                  </a:lnTo>
                  <a:lnTo>
                    <a:pt x="1272" y="90"/>
                  </a:lnTo>
                  <a:lnTo>
                    <a:pt x="1308" y="84"/>
                  </a:lnTo>
                  <a:lnTo>
                    <a:pt x="1347" y="39"/>
                  </a:lnTo>
                  <a:lnTo>
                    <a:pt x="1326" y="36"/>
                  </a:lnTo>
                  <a:lnTo>
                    <a:pt x="1305" y="21"/>
                  </a:lnTo>
                  <a:lnTo>
                    <a:pt x="1326" y="0"/>
                  </a:lnTo>
                  <a:lnTo>
                    <a:pt x="1374" y="12"/>
                  </a:lnTo>
                  <a:lnTo>
                    <a:pt x="1401" y="12"/>
                  </a:lnTo>
                  <a:lnTo>
                    <a:pt x="1419" y="36"/>
                  </a:lnTo>
                  <a:lnTo>
                    <a:pt x="1413" y="66"/>
                  </a:lnTo>
                  <a:lnTo>
                    <a:pt x="1419" y="84"/>
                  </a:lnTo>
                  <a:lnTo>
                    <a:pt x="1413" y="120"/>
                  </a:lnTo>
                  <a:lnTo>
                    <a:pt x="1431" y="138"/>
                  </a:lnTo>
                  <a:lnTo>
                    <a:pt x="1485" y="117"/>
                  </a:lnTo>
                  <a:lnTo>
                    <a:pt x="1503" y="129"/>
                  </a:lnTo>
                  <a:lnTo>
                    <a:pt x="1527" y="132"/>
                  </a:lnTo>
                  <a:lnTo>
                    <a:pt x="1563" y="159"/>
                  </a:lnTo>
                  <a:lnTo>
                    <a:pt x="1584" y="180"/>
                  </a:lnTo>
                  <a:lnTo>
                    <a:pt x="1557" y="213"/>
                  </a:lnTo>
                  <a:lnTo>
                    <a:pt x="1581" y="225"/>
                  </a:lnTo>
                  <a:lnTo>
                    <a:pt x="1605" y="201"/>
                  </a:lnTo>
                  <a:lnTo>
                    <a:pt x="1647" y="180"/>
                  </a:lnTo>
                  <a:lnTo>
                    <a:pt x="1698" y="159"/>
                  </a:lnTo>
                  <a:lnTo>
                    <a:pt x="1734" y="165"/>
                  </a:lnTo>
                  <a:lnTo>
                    <a:pt x="1743" y="141"/>
                  </a:lnTo>
                  <a:cubicBezTo>
                    <a:pt x="1774" y="144"/>
                    <a:pt x="1773" y="154"/>
                    <a:pt x="1773" y="141"/>
                  </a:cubicBezTo>
                  <a:lnTo>
                    <a:pt x="1776" y="99"/>
                  </a:lnTo>
                  <a:lnTo>
                    <a:pt x="1782" y="69"/>
                  </a:lnTo>
                  <a:lnTo>
                    <a:pt x="1803" y="51"/>
                  </a:lnTo>
                  <a:lnTo>
                    <a:pt x="1833" y="78"/>
                  </a:lnTo>
                  <a:lnTo>
                    <a:pt x="1881" y="78"/>
                  </a:lnTo>
                  <a:lnTo>
                    <a:pt x="1908" y="108"/>
                  </a:lnTo>
                  <a:lnTo>
                    <a:pt x="1911" y="126"/>
                  </a:lnTo>
                  <a:lnTo>
                    <a:pt x="1887" y="159"/>
                  </a:lnTo>
                  <a:lnTo>
                    <a:pt x="1863" y="183"/>
                  </a:lnTo>
                  <a:lnTo>
                    <a:pt x="1857" y="213"/>
                  </a:lnTo>
                  <a:lnTo>
                    <a:pt x="1866" y="240"/>
                  </a:lnTo>
                  <a:lnTo>
                    <a:pt x="1869" y="273"/>
                  </a:lnTo>
                  <a:lnTo>
                    <a:pt x="1899" y="297"/>
                  </a:lnTo>
                  <a:lnTo>
                    <a:pt x="1914" y="318"/>
                  </a:lnTo>
                  <a:lnTo>
                    <a:pt x="1887" y="363"/>
                  </a:lnTo>
                  <a:lnTo>
                    <a:pt x="1914" y="381"/>
                  </a:lnTo>
                  <a:lnTo>
                    <a:pt x="1929" y="420"/>
                  </a:lnTo>
                  <a:lnTo>
                    <a:pt x="1929" y="447"/>
                  </a:lnTo>
                  <a:lnTo>
                    <a:pt x="1917" y="465"/>
                  </a:lnTo>
                  <a:lnTo>
                    <a:pt x="1884" y="474"/>
                  </a:lnTo>
                  <a:lnTo>
                    <a:pt x="1875" y="495"/>
                  </a:lnTo>
                  <a:lnTo>
                    <a:pt x="1911" y="522"/>
                  </a:lnTo>
                  <a:lnTo>
                    <a:pt x="1923" y="549"/>
                  </a:lnTo>
                  <a:lnTo>
                    <a:pt x="1947" y="549"/>
                  </a:lnTo>
                  <a:lnTo>
                    <a:pt x="1923" y="606"/>
                  </a:lnTo>
                  <a:lnTo>
                    <a:pt x="1920" y="639"/>
                  </a:lnTo>
                  <a:lnTo>
                    <a:pt x="1938" y="681"/>
                  </a:lnTo>
                  <a:lnTo>
                    <a:pt x="1908" y="699"/>
                  </a:lnTo>
                  <a:lnTo>
                    <a:pt x="1911" y="732"/>
                  </a:lnTo>
                  <a:lnTo>
                    <a:pt x="1944" y="756"/>
                  </a:lnTo>
                  <a:lnTo>
                    <a:pt x="1971" y="735"/>
                  </a:lnTo>
                  <a:lnTo>
                    <a:pt x="2004" y="738"/>
                  </a:lnTo>
                  <a:lnTo>
                    <a:pt x="2049" y="828"/>
                  </a:lnTo>
                  <a:lnTo>
                    <a:pt x="2043" y="846"/>
                  </a:lnTo>
                  <a:lnTo>
                    <a:pt x="2004" y="864"/>
                  </a:lnTo>
                  <a:lnTo>
                    <a:pt x="1956" y="873"/>
                  </a:lnTo>
                  <a:lnTo>
                    <a:pt x="1899" y="870"/>
                  </a:lnTo>
                  <a:lnTo>
                    <a:pt x="1833" y="879"/>
                  </a:lnTo>
                  <a:lnTo>
                    <a:pt x="1758" y="864"/>
                  </a:lnTo>
                  <a:lnTo>
                    <a:pt x="1710" y="891"/>
                  </a:lnTo>
                  <a:lnTo>
                    <a:pt x="1629" y="957"/>
                  </a:lnTo>
                  <a:lnTo>
                    <a:pt x="1569" y="1035"/>
                  </a:lnTo>
                  <a:lnTo>
                    <a:pt x="1533" y="1047"/>
                  </a:lnTo>
                  <a:lnTo>
                    <a:pt x="1389" y="1056"/>
                  </a:lnTo>
                  <a:cubicBezTo>
                    <a:pt x="1276" y="1068"/>
                    <a:pt x="1164" y="1092"/>
                    <a:pt x="1050" y="1092"/>
                  </a:cubicBezTo>
                  <a:lnTo>
                    <a:pt x="846" y="1119"/>
                  </a:lnTo>
                  <a:lnTo>
                    <a:pt x="609" y="1137"/>
                  </a:lnTo>
                  <a:lnTo>
                    <a:pt x="606" y="1110"/>
                  </a:lnTo>
                  <a:lnTo>
                    <a:pt x="561" y="1113"/>
                  </a:lnTo>
                  <a:lnTo>
                    <a:pt x="471" y="1107"/>
                  </a:lnTo>
                  <a:lnTo>
                    <a:pt x="426" y="1101"/>
                  </a:lnTo>
                  <a:lnTo>
                    <a:pt x="405" y="1110"/>
                  </a:lnTo>
                  <a:lnTo>
                    <a:pt x="378" y="1083"/>
                  </a:lnTo>
                  <a:lnTo>
                    <a:pt x="360" y="1062"/>
                  </a:lnTo>
                  <a:lnTo>
                    <a:pt x="336" y="1044"/>
                  </a:lnTo>
                  <a:lnTo>
                    <a:pt x="318" y="1053"/>
                  </a:lnTo>
                  <a:lnTo>
                    <a:pt x="294" y="1038"/>
                  </a:lnTo>
                  <a:lnTo>
                    <a:pt x="270" y="1023"/>
                  </a:lnTo>
                  <a:lnTo>
                    <a:pt x="237" y="999"/>
                  </a:lnTo>
                  <a:lnTo>
                    <a:pt x="216" y="1008"/>
                  </a:lnTo>
                  <a:lnTo>
                    <a:pt x="159" y="972"/>
                  </a:lnTo>
                  <a:lnTo>
                    <a:pt x="144" y="984"/>
                  </a:lnTo>
                  <a:lnTo>
                    <a:pt x="105" y="963"/>
                  </a:lnTo>
                  <a:lnTo>
                    <a:pt x="63" y="924"/>
                  </a:lnTo>
                  <a:lnTo>
                    <a:pt x="0" y="933"/>
                  </a:lnTo>
                  <a:lnTo>
                    <a:pt x="45" y="900"/>
                  </a:lnTo>
                  <a:lnTo>
                    <a:pt x="132" y="837"/>
                  </a:lnTo>
                  <a:lnTo>
                    <a:pt x="216" y="771"/>
                  </a:lnTo>
                  <a:lnTo>
                    <a:pt x="177" y="729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 269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3790639" y="4409776"/>
              <a:ext cx="1183610" cy="1239994"/>
            </a:xfrm>
            <a:custGeom>
              <a:avLst/>
              <a:gdLst>
                <a:gd name="T0" fmla="*/ 660750 w 1278"/>
                <a:gd name="T1" fmla="*/ 42764 h 969"/>
                <a:gd name="T2" fmla="*/ 730712 w 1278"/>
                <a:gd name="T3" fmla="*/ 38877 h 969"/>
                <a:gd name="T4" fmla="*/ 812334 w 1278"/>
                <a:gd name="T5" fmla="*/ 19438 h 969"/>
                <a:gd name="T6" fmla="*/ 893957 w 1278"/>
                <a:gd name="T7" fmla="*/ 42764 h 969"/>
                <a:gd name="T8" fmla="*/ 1002786 w 1278"/>
                <a:gd name="T9" fmla="*/ 81641 h 969"/>
                <a:gd name="T10" fmla="*/ 1204898 w 1278"/>
                <a:gd name="T11" fmla="*/ 69978 h 969"/>
                <a:gd name="T12" fmla="*/ 1282633 w 1278"/>
                <a:gd name="T13" fmla="*/ 69978 h 969"/>
                <a:gd name="T14" fmla="*/ 1321501 w 1278"/>
                <a:gd name="T15" fmla="*/ 42764 h 969"/>
                <a:gd name="T16" fmla="*/ 1372029 w 1278"/>
                <a:gd name="T17" fmla="*/ 58315 h 969"/>
                <a:gd name="T18" fmla="*/ 1403123 w 1278"/>
                <a:gd name="T19" fmla="*/ 89416 h 969"/>
                <a:gd name="T20" fmla="*/ 1488632 w 1278"/>
                <a:gd name="T21" fmla="*/ 128293 h 969"/>
                <a:gd name="T22" fmla="*/ 1543047 w 1278"/>
                <a:gd name="T23" fmla="*/ 206046 h 969"/>
                <a:gd name="T24" fmla="*/ 1585801 w 1278"/>
                <a:gd name="T25" fmla="*/ 287686 h 969"/>
                <a:gd name="T26" fmla="*/ 1655763 w 1278"/>
                <a:gd name="T27" fmla="*/ 361552 h 969"/>
                <a:gd name="T28" fmla="*/ 1601348 w 1278"/>
                <a:gd name="T29" fmla="*/ 369327 h 969"/>
                <a:gd name="T30" fmla="*/ 1523613 w 1278"/>
                <a:gd name="T31" fmla="*/ 400428 h 969"/>
                <a:gd name="T32" fmla="*/ 1422557 w 1278"/>
                <a:gd name="T33" fmla="*/ 408204 h 969"/>
                <a:gd name="T34" fmla="*/ 1344822 w 1278"/>
                <a:gd name="T35" fmla="*/ 466518 h 969"/>
                <a:gd name="T36" fmla="*/ 1294293 w 1278"/>
                <a:gd name="T37" fmla="*/ 482069 h 969"/>
                <a:gd name="T38" fmla="*/ 1255426 w 1278"/>
                <a:gd name="T39" fmla="*/ 509283 h 969"/>
                <a:gd name="T40" fmla="*/ 1189351 w 1278"/>
                <a:gd name="T41" fmla="*/ 559822 h 969"/>
                <a:gd name="T42" fmla="*/ 1282633 w 1278"/>
                <a:gd name="T43" fmla="*/ 559822 h 969"/>
                <a:gd name="T44" fmla="*/ 1290407 w 1278"/>
                <a:gd name="T45" fmla="*/ 637575 h 969"/>
                <a:gd name="T46" fmla="*/ 1333161 w 1278"/>
                <a:gd name="T47" fmla="*/ 746430 h 969"/>
                <a:gd name="T48" fmla="*/ 1403123 w 1278"/>
                <a:gd name="T49" fmla="*/ 878610 h 969"/>
                <a:gd name="T50" fmla="*/ 1449764 w 1278"/>
                <a:gd name="T51" fmla="*/ 948587 h 969"/>
                <a:gd name="T52" fmla="*/ 1403123 w 1278"/>
                <a:gd name="T53" fmla="*/ 1003015 h 969"/>
                <a:gd name="T54" fmla="*/ 1426444 w 1278"/>
                <a:gd name="T55" fmla="*/ 1057442 h 969"/>
                <a:gd name="T56" fmla="*/ 1368142 w 1278"/>
                <a:gd name="T57" fmla="*/ 1115757 h 969"/>
                <a:gd name="T58" fmla="*/ 1391463 w 1278"/>
                <a:gd name="T59" fmla="*/ 1174071 h 969"/>
                <a:gd name="T60" fmla="*/ 1407010 w 1278"/>
                <a:gd name="T61" fmla="*/ 1236274 h 969"/>
                <a:gd name="T62" fmla="*/ 1364256 w 1278"/>
                <a:gd name="T63" fmla="*/ 1228498 h 969"/>
                <a:gd name="T64" fmla="*/ 1286520 w 1278"/>
                <a:gd name="T65" fmla="*/ 1197397 h 969"/>
                <a:gd name="T66" fmla="*/ 1235992 w 1278"/>
                <a:gd name="T67" fmla="*/ 1212948 h 969"/>
                <a:gd name="T68" fmla="*/ 1162143 w 1278"/>
                <a:gd name="T69" fmla="*/ 1162408 h 969"/>
                <a:gd name="T70" fmla="*/ 1127162 w 1278"/>
                <a:gd name="T71" fmla="*/ 1150745 h 969"/>
                <a:gd name="T72" fmla="*/ 1049427 w 1278"/>
                <a:gd name="T73" fmla="*/ 1146858 h 969"/>
                <a:gd name="T74" fmla="*/ 991126 w 1278"/>
                <a:gd name="T75" fmla="*/ 1154633 h 969"/>
                <a:gd name="T76" fmla="*/ 913390 w 1278"/>
                <a:gd name="T77" fmla="*/ 1170184 h 969"/>
                <a:gd name="T78" fmla="*/ 847315 w 1278"/>
                <a:gd name="T79" fmla="*/ 1158521 h 969"/>
                <a:gd name="T80" fmla="*/ 730712 w 1278"/>
                <a:gd name="T81" fmla="*/ 1162408 h 969"/>
                <a:gd name="T82" fmla="*/ 668524 w 1278"/>
                <a:gd name="T83" fmla="*/ 1193510 h 969"/>
                <a:gd name="T84" fmla="*/ 610222 w 1278"/>
                <a:gd name="T85" fmla="*/ 1220723 h 969"/>
                <a:gd name="T86" fmla="*/ 536374 w 1278"/>
                <a:gd name="T87" fmla="*/ 1216835 h 969"/>
                <a:gd name="T88" fmla="*/ 462525 w 1278"/>
                <a:gd name="T89" fmla="*/ 1185734 h 969"/>
                <a:gd name="T90" fmla="*/ 392564 w 1278"/>
                <a:gd name="T91" fmla="*/ 1139082 h 969"/>
                <a:gd name="T92" fmla="*/ 408111 w 1278"/>
                <a:gd name="T93" fmla="*/ 1080768 h 969"/>
                <a:gd name="T94" fmla="*/ 326488 w 1278"/>
                <a:gd name="T95" fmla="*/ 1065217 h 969"/>
                <a:gd name="T96" fmla="*/ 373130 w 1278"/>
                <a:gd name="T97" fmla="*/ 991352 h 969"/>
                <a:gd name="T98" fmla="*/ 357583 w 1278"/>
                <a:gd name="T99" fmla="*/ 913599 h 969"/>
                <a:gd name="T100" fmla="*/ 272074 w 1278"/>
                <a:gd name="T101" fmla="*/ 870834 h 969"/>
                <a:gd name="T102" fmla="*/ 217659 w 1278"/>
                <a:gd name="T103" fmla="*/ 855284 h 969"/>
                <a:gd name="T104" fmla="*/ 202112 w 1278"/>
                <a:gd name="T105" fmla="*/ 812520 h 969"/>
                <a:gd name="T106" fmla="*/ 163244 w 1278"/>
                <a:gd name="T107" fmla="*/ 758093 h 969"/>
                <a:gd name="T108" fmla="*/ 112716 w 1278"/>
                <a:gd name="T109" fmla="*/ 707553 h 969"/>
                <a:gd name="T110" fmla="*/ 38868 w 1278"/>
                <a:gd name="T111" fmla="*/ 672564 h 969"/>
                <a:gd name="T112" fmla="*/ 0 w 1278"/>
                <a:gd name="T113" fmla="*/ 555934 h 969"/>
                <a:gd name="T114" fmla="*/ 97169 w 1278"/>
                <a:gd name="T115" fmla="*/ 377102 h 969"/>
                <a:gd name="T116" fmla="*/ 225433 w 1278"/>
                <a:gd name="T117" fmla="*/ 264360 h 969"/>
                <a:gd name="T118" fmla="*/ 454752 w 1278"/>
                <a:gd name="T119" fmla="*/ 233259 h 969"/>
                <a:gd name="T120" fmla="*/ 652977 w 1278"/>
                <a:gd name="T121" fmla="*/ 237147 h 969"/>
                <a:gd name="T122" fmla="*/ 676298 w 1278"/>
                <a:gd name="T123" fmla="*/ 163281 h 969"/>
                <a:gd name="T124" fmla="*/ 621883 w 1278"/>
                <a:gd name="T125" fmla="*/ 62202 h 96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78"/>
                <a:gd name="T190" fmla="*/ 0 h 969"/>
                <a:gd name="T191" fmla="*/ 1278 w 1278"/>
                <a:gd name="T192" fmla="*/ 969 h 96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78" h="969">
                  <a:moveTo>
                    <a:pt x="480" y="48"/>
                  </a:moveTo>
                  <a:lnTo>
                    <a:pt x="510" y="33"/>
                  </a:lnTo>
                  <a:lnTo>
                    <a:pt x="546" y="9"/>
                  </a:lnTo>
                  <a:lnTo>
                    <a:pt x="564" y="30"/>
                  </a:lnTo>
                  <a:lnTo>
                    <a:pt x="582" y="0"/>
                  </a:lnTo>
                  <a:lnTo>
                    <a:pt x="627" y="15"/>
                  </a:lnTo>
                  <a:lnTo>
                    <a:pt x="648" y="21"/>
                  </a:lnTo>
                  <a:lnTo>
                    <a:pt x="690" y="33"/>
                  </a:lnTo>
                  <a:lnTo>
                    <a:pt x="708" y="18"/>
                  </a:lnTo>
                  <a:lnTo>
                    <a:pt x="774" y="63"/>
                  </a:lnTo>
                  <a:lnTo>
                    <a:pt x="846" y="21"/>
                  </a:lnTo>
                  <a:lnTo>
                    <a:pt x="930" y="54"/>
                  </a:lnTo>
                  <a:lnTo>
                    <a:pt x="954" y="48"/>
                  </a:lnTo>
                  <a:lnTo>
                    <a:pt x="990" y="54"/>
                  </a:lnTo>
                  <a:lnTo>
                    <a:pt x="1002" y="36"/>
                  </a:lnTo>
                  <a:lnTo>
                    <a:pt x="1020" y="33"/>
                  </a:lnTo>
                  <a:lnTo>
                    <a:pt x="1038" y="54"/>
                  </a:lnTo>
                  <a:lnTo>
                    <a:pt x="1059" y="45"/>
                  </a:lnTo>
                  <a:lnTo>
                    <a:pt x="1077" y="39"/>
                  </a:lnTo>
                  <a:lnTo>
                    <a:pt x="1083" y="69"/>
                  </a:lnTo>
                  <a:lnTo>
                    <a:pt x="1116" y="84"/>
                  </a:lnTo>
                  <a:lnTo>
                    <a:pt x="1149" y="99"/>
                  </a:lnTo>
                  <a:lnTo>
                    <a:pt x="1179" y="108"/>
                  </a:lnTo>
                  <a:lnTo>
                    <a:pt x="1191" y="159"/>
                  </a:lnTo>
                  <a:lnTo>
                    <a:pt x="1197" y="198"/>
                  </a:lnTo>
                  <a:lnTo>
                    <a:pt x="1224" y="222"/>
                  </a:lnTo>
                  <a:lnTo>
                    <a:pt x="1266" y="240"/>
                  </a:lnTo>
                  <a:lnTo>
                    <a:pt x="1278" y="279"/>
                  </a:lnTo>
                  <a:lnTo>
                    <a:pt x="1269" y="300"/>
                  </a:lnTo>
                  <a:lnTo>
                    <a:pt x="1236" y="285"/>
                  </a:lnTo>
                  <a:lnTo>
                    <a:pt x="1200" y="312"/>
                  </a:lnTo>
                  <a:lnTo>
                    <a:pt x="1176" y="309"/>
                  </a:lnTo>
                  <a:lnTo>
                    <a:pt x="1149" y="279"/>
                  </a:lnTo>
                  <a:lnTo>
                    <a:pt x="1098" y="315"/>
                  </a:lnTo>
                  <a:lnTo>
                    <a:pt x="1065" y="342"/>
                  </a:lnTo>
                  <a:lnTo>
                    <a:pt x="1038" y="360"/>
                  </a:lnTo>
                  <a:lnTo>
                    <a:pt x="1023" y="348"/>
                  </a:lnTo>
                  <a:lnTo>
                    <a:pt x="999" y="372"/>
                  </a:lnTo>
                  <a:lnTo>
                    <a:pt x="981" y="375"/>
                  </a:lnTo>
                  <a:lnTo>
                    <a:pt x="969" y="393"/>
                  </a:lnTo>
                  <a:lnTo>
                    <a:pt x="936" y="402"/>
                  </a:lnTo>
                  <a:lnTo>
                    <a:pt x="918" y="432"/>
                  </a:lnTo>
                  <a:lnTo>
                    <a:pt x="945" y="450"/>
                  </a:lnTo>
                  <a:lnTo>
                    <a:pt x="990" y="432"/>
                  </a:lnTo>
                  <a:lnTo>
                    <a:pt x="1005" y="450"/>
                  </a:lnTo>
                  <a:lnTo>
                    <a:pt x="996" y="492"/>
                  </a:lnTo>
                  <a:lnTo>
                    <a:pt x="1002" y="528"/>
                  </a:lnTo>
                  <a:lnTo>
                    <a:pt x="1029" y="576"/>
                  </a:lnTo>
                  <a:lnTo>
                    <a:pt x="1056" y="636"/>
                  </a:lnTo>
                  <a:lnTo>
                    <a:pt x="1083" y="678"/>
                  </a:lnTo>
                  <a:lnTo>
                    <a:pt x="1101" y="705"/>
                  </a:lnTo>
                  <a:lnTo>
                    <a:pt x="1119" y="732"/>
                  </a:lnTo>
                  <a:lnTo>
                    <a:pt x="1116" y="756"/>
                  </a:lnTo>
                  <a:lnTo>
                    <a:pt x="1083" y="774"/>
                  </a:lnTo>
                  <a:lnTo>
                    <a:pt x="1077" y="801"/>
                  </a:lnTo>
                  <a:lnTo>
                    <a:pt x="1101" y="816"/>
                  </a:lnTo>
                  <a:lnTo>
                    <a:pt x="1065" y="837"/>
                  </a:lnTo>
                  <a:lnTo>
                    <a:pt x="1056" y="861"/>
                  </a:lnTo>
                  <a:lnTo>
                    <a:pt x="1056" y="888"/>
                  </a:lnTo>
                  <a:lnTo>
                    <a:pt x="1074" y="906"/>
                  </a:lnTo>
                  <a:lnTo>
                    <a:pt x="1074" y="927"/>
                  </a:lnTo>
                  <a:lnTo>
                    <a:pt x="1086" y="954"/>
                  </a:lnTo>
                  <a:lnTo>
                    <a:pt x="1074" y="969"/>
                  </a:lnTo>
                  <a:lnTo>
                    <a:pt x="1053" y="948"/>
                  </a:lnTo>
                  <a:lnTo>
                    <a:pt x="1026" y="930"/>
                  </a:lnTo>
                  <a:lnTo>
                    <a:pt x="993" y="924"/>
                  </a:lnTo>
                  <a:lnTo>
                    <a:pt x="975" y="936"/>
                  </a:lnTo>
                  <a:lnTo>
                    <a:pt x="954" y="936"/>
                  </a:lnTo>
                  <a:lnTo>
                    <a:pt x="918" y="906"/>
                  </a:lnTo>
                  <a:lnTo>
                    <a:pt x="897" y="897"/>
                  </a:lnTo>
                  <a:lnTo>
                    <a:pt x="891" y="873"/>
                  </a:lnTo>
                  <a:lnTo>
                    <a:pt x="870" y="888"/>
                  </a:lnTo>
                  <a:lnTo>
                    <a:pt x="840" y="882"/>
                  </a:lnTo>
                  <a:lnTo>
                    <a:pt x="810" y="885"/>
                  </a:lnTo>
                  <a:lnTo>
                    <a:pt x="780" y="879"/>
                  </a:lnTo>
                  <a:lnTo>
                    <a:pt x="765" y="891"/>
                  </a:lnTo>
                  <a:lnTo>
                    <a:pt x="723" y="906"/>
                  </a:lnTo>
                  <a:lnTo>
                    <a:pt x="705" y="903"/>
                  </a:lnTo>
                  <a:lnTo>
                    <a:pt x="678" y="888"/>
                  </a:lnTo>
                  <a:lnTo>
                    <a:pt x="654" y="894"/>
                  </a:lnTo>
                  <a:lnTo>
                    <a:pt x="597" y="909"/>
                  </a:lnTo>
                  <a:lnTo>
                    <a:pt x="564" y="897"/>
                  </a:lnTo>
                  <a:lnTo>
                    <a:pt x="543" y="909"/>
                  </a:lnTo>
                  <a:lnTo>
                    <a:pt x="516" y="921"/>
                  </a:lnTo>
                  <a:lnTo>
                    <a:pt x="492" y="936"/>
                  </a:lnTo>
                  <a:lnTo>
                    <a:pt x="471" y="942"/>
                  </a:lnTo>
                  <a:lnTo>
                    <a:pt x="444" y="924"/>
                  </a:lnTo>
                  <a:lnTo>
                    <a:pt x="414" y="939"/>
                  </a:lnTo>
                  <a:lnTo>
                    <a:pt x="381" y="936"/>
                  </a:lnTo>
                  <a:lnTo>
                    <a:pt x="357" y="915"/>
                  </a:lnTo>
                  <a:lnTo>
                    <a:pt x="327" y="906"/>
                  </a:lnTo>
                  <a:lnTo>
                    <a:pt x="303" y="879"/>
                  </a:lnTo>
                  <a:lnTo>
                    <a:pt x="309" y="855"/>
                  </a:lnTo>
                  <a:lnTo>
                    <a:pt x="315" y="834"/>
                  </a:lnTo>
                  <a:lnTo>
                    <a:pt x="276" y="828"/>
                  </a:lnTo>
                  <a:lnTo>
                    <a:pt x="252" y="822"/>
                  </a:lnTo>
                  <a:lnTo>
                    <a:pt x="282" y="789"/>
                  </a:lnTo>
                  <a:lnTo>
                    <a:pt x="288" y="765"/>
                  </a:lnTo>
                  <a:lnTo>
                    <a:pt x="288" y="735"/>
                  </a:lnTo>
                  <a:lnTo>
                    <a:pt x="276" y="705"/>
                  </a:lnTo>
                  <a:lnTo>
                    <a:pt x="234" y="684"/>
                  </a:lnTo>
                  <a:lnTo>
                    <a:pt x="210" y="672"/>
                  </a:lnTo>
                  <a:lnTo>
                    <a:pt x="192" y="672"/>
                  </a:lnTo>
                  <a:lnTo>
                    <a:pt x="168" y="660"/>
                  </a:lnTo>
                  <a:lnTo>
                    <a:pt x="153" y="645"/>
                  </a:lnTo>
                  <a:lnTo>
                    <a:pt x="156" y="627"/>
                  </a:lnTo>
                  <a:lnTo>
                    <a:pt x="141" y="597"/>
                  </a:lnTo>
                  <a:lnTo>
                    <a:pt x="126" y="585"/>
                  </a:lnTo>
                  <a:lnTo>
                    <a:pt x="102" y="558"/>
                  </a:lnTo>
                  <a:lnTo>
                    <a:pt x="87" y="546"/>
                  </a:lnTo>
                  <a:lnTo>
                    <a:pt x="48" y="540"/>
                  </a:lnTo>
                  <a:lnTo>
                    <a:pt x="30" y="519"/>
                  </a:lnTo>
                  <a:lnTo>
                    <a:pt x="33" y="495"/>
                  </a:lnTo>
                  <a:lnTo>
                    <a:pt x="0" y="429"/>
                  </a:lnTo>
                  <a:lnTo>
                    <a:pt x="15" y="354"/>
                  </a:lnTo>
                  <a:lnTo>
                    <a:pt x="75" y="291"/>
                  </a:lnTo>
                  <a:lnTo>
                    <a:pt x="150" y="228"/>
                  </a:lnTo>
                  <a:lnTo>
                    <a:pt x="174" y="204"/>
                  </a:lnTo>
                  <a:lnTo>
                    <a:pt x="243" y="174"/>
                  </a:lnTo>
                  <a:lnTo>
                    <a:pt x="351" y="180"/>
                  </a:lnTo>
                  <a:lnTo>
                    <a:pt x="432" y="183"/>
                  </a:lnTo>
                  <a:lnTo>
                    <a:pt x="504" y="183"/>
                  </a:lnTo>
                  <a:lnTo>
                    <a:pt x="546" y="156"/>
                  </a:lnTo>
                  <a:lnTo>
                    <a:pt x="522" y="126"/>
                  </a:lnTo>
                  <a:lnTo>
                    <a:pt x="501" y="75"/>
                  </a:lnTo>
                  <a:lnTo>
                    <a:pt x="480" y="48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 270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678522" y="3180756"/>
              <a:ext cx="1012254" cy="733650"/>
            </a:xfrm>
            <a:custGeom>
              <a:avLst/>
              <a:gdLst>
                <a:gd name="T0" fmla="*/ 132268 w 1092"/>
                <a:gd name="T1" fmla="*/ 189303 h 573"/>
                <a:gd name="T2" fmla="*/ 237305 w 1092"/>
                <a:gd name="T3" fmla="*/ 206159 h 573"/>
                <a:gd name="T4" fmla="*/ 303439 w 1092"/>
                <a:gd name="T5" fmla="*/ 163371 h 573"/>
                <a:gd name="T6" fmla="*/ 424037 w 1092"/>
                <a:gd name="T7" fmla="*/ 136143 h 573"/>
                <a:gd name="T8" fmla="*/ 490171 w 1092"/>
                <a:gd name="T9" fmla="*/ 57050 h 573"/>
                <a:gd name="T10" fmla="*/ 557602 w 1092"/>
                <a:gd name="T11" fmla="*/ 93355 h 573"/>
                <a:gd name="T12" fmla="*/ 638000 w 1092"/>
                <a:gd name="T13" fmla="*/ 132253 h 573"/>
                <a:gd name="T14" fmla="*/ 711915 w 1092"/>
                <a:gd name="T15" fmla="*/ 97245 h 573"/>
                <a:gd name="T16" fmla="*/ 770269 w 1092"/>
                <a:gd name="T17" fmla="*/ 54457 h 573"/>
                <a:gd name="T18" fmla="*/ 886976 w 1092"/>
                <a:gd name="T19" fmla="*/ 136143 h 573"/>
                <a:gd name="T20" fmla="*/ 1003684 w 1092"/>
                <a:gd name="T21" fmla="*/ 73906 h 573"/>
                <a:gd name="T22" fmla="*/ 1116501 w 1092"/>
                <a:gd name="T23" fmla="*/ 77796 h 573"/>
                <a:gd name="T24" fmla="*/ 1156700 w 1092"/>
                <a:gd name="T25" fmla="*/ 28525 h 573"/>
                <a:gd name="T26" fmla="*/ 1217647 w 1092"/>
                <a:gd name="T27" fmla="*/ 3890 h 573"/>
                <a:gd name="T28" fmla="*/ 1353806 w 1092"/>
                <a:gd name="T29" fmla="*/ 42788 h 573"/>
                <a:gd name="T30" fmla="*/ 1373257 w 1092"/>
                <a:gd name="T31" fmla="*/ 202269 h 573"/>
                <a:gd name="T32" fmla="*/ 1377148 w 1092"/>
                <a:gd name="T33" fmla="*/ 268396 h 573"/>
                <a:gd name="T34" fmla="*/ 1361587 w 1092"/>
                <a:gd name="T35" fmla="*/ 350081 h 573"/>
                <a:gd name="T36" fmla="*/ 1283781 w 1092"/>
                <a:gd name="T37" fmla="*/ 365640 h 573"/>
                <a:gd name="T38" fmla="*/ 1318794 w 1092"/>
                <a:gd name="T39" fmla="*/ 408428 h 573"/>
                <a:gd name="T40" fmla="*/ 1307123 w 1092"/>
                <a:gd name="T41" fmla="*/ 447326 h 573"/>
                <a:gd name="T42" fmla="*/ 1233208 w 1092"/>
                <a:gd name="T43" fmla="*/ 482334 h 573"/>
                <a:gd name="T44" fmla="*/ 1186525 w 1092"/>
                <a:gd name="T45" fmla="*/ 525122 h 573"/>
                <a:gd name="T46" fmla="*/ 1170964 w 1092"/>
                <a:gd name="T47" fmla="*/ 583468 h 573"/>
                <a:gd name="T48" fmla="*/ 1143732 w 1092"/>
                <a:gd name="T49" fmla="*/ 595138 h 573"/>
                <a:gd name="T50" fmla="*/ 1108720 w 1092"/>
                <a:gd name="T51" fmla="*/ 591248 h 573"/>
                <a:gd name="T52" fmla="*/ 1069818 w 1092"/>
                <a:gd name="T53" fmla="*/ 552350 h 573"/>
                <a:gd name="T54" fmla="*/ 980342 w 1092"/>
                <a:gd name="T55" fmla="*/ 575689 h 573"/>
                <a:gd name="T56" fmla="*/ 914208 w 1092"/>
                <a:gd name="T57" fmla="*/ 630146 h 573"/>
                <a:gd name="T58" fmla="*/ 875306 w 1092"/>
                <a:gd name="T59" fmla="*/ 688493 h 573"/>
                <a:gd name="T60" fmla="*/ 840293 w 1092"/>
                <a:gd name="T61" fmla="*/ 739060 h 573"/>
                <a:gd name="T62" fmla="*/ 813062 w 1092"/>
                <a:gd name="T63" fmla="*/ 707942 h 573"/>
                <a:gd name="T64" fmla="*/ 746927 w 1092"/>
                <a:gd name="T65" fmla="*/ 707942 h 573"/>
                <a:gd name="T66" fmla="*/ 692464 w 1092"/>
                <a:gd name="T67" fmla="*/ 672934 h 573"/>
                <a:gd name="T68" fmla="*/ 669123 w 1092"/>
                <a:gd name="T69" fmla="*/ 704052 h 573"/>
                <a:gd name="T70" fmla="*/ 622439 w 1092"/>
                <a:gd name="T71" fmla="*/ 739060 h 573"/>
                <a:gd name="T72" fmla="*/ 560196 w 1092"/>
                <a:gd name="T73" fmla="*/ 680713 h 573"/>
                <a:gd name="T74" fmla="*/ 583537 w 1092"/>
                <a:gd name="T75" fmla="*/ 610697 h 573"/>
                <a:gd name="T76" fmla="*/ 509622 w 1092"/>
                <a:gd name="T77" fmla="*/ 587358 h 573"/>
                <a:gd name="T78" fmla="*/ 431817 w 1092"/>
                <a:gd name="T79" fmla="*/ 622366 h 573"/>
                <a:gd name="T80" fmla="*/ 409773 w 1092"/>
                <a:gd name="T81" fmla="*/ 669044 h 573"/>
                <a:gd name="T82" fmla="*/ 299549 w 1092"/>
                <a:gd name="T83" fmla="*/ 711832 h 573"/>
                <a:gd name="T84" fmla="*/ 295659 w 1092"/>
                <a:gd name="T85" fmla="*/ 649595 h 573"/>
                <a:gd name="T86" fmla="*/ 167281 w 1092"/>
                <a:gd name="T87" fmla="*/ 602917 h 573"/>
                <a:gd name="T88" fmla="*/ 70024 w 1092"/>
                <a:gd name="T89" fmla="*/ 591248 h 573"/>
                <a:gd name="T90" fmla="*/ 23341 w 1092"/>
                <a:gd name="T91" fmla="*/ 431767 h 573"/>
                <a:gd name="T92" fmla="*/ 2593 w 1092"/>
                <a:gd name="T93" fmla="*/ 368234 h 573"/>
                <a:gd name="T94" fmla="*/ 46683 w 1092"/>
                <a:gd name="T95" fmla="*/ 330632 h 573"/>
                <a:gd name="T96" fmla="*/ 97256 w 1092"/>
                <a:gd name="T97" fmla="*/ 194490 h 57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92"/>
                <a:gd name="T148" fmla="*/ 0 h 573"/>
                <a:gd name="T149" fmla="*/ 1092 w 1092"/>
                <a:gd name="T150" fmla="*/ 573 h 57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92" h="573">
                  <a:moveTo>
                    <a:pt x="75" y="114"/>
                  </a:moveTo>
                  <a:lnTo>
                    <a:pt x="102" y="146"/>
                  </a:lnTo>
                  <a:lnTo>
                    <a:pt x="132" y="141"/>
                  </a:lnTo>
                  <a:lnTo>
                    <a:pt x="183" y="159"/>
                  </a:lnTo>
                  <a:lnTo>
                    <a:pt x="213" y="159"/>
                  </a:lnTo>
                  <a:lnTo>
                    <a:pt x="234" y="126"/>
                  </a:lnTo>
                  <a:lnTo>
                    <a:pt x="297" y="150"/>
                  </a:lnTo>
                  <a:lnTo>
                    <a:pt x="327" y="105"/>
                  </a:lnTo>
                  <a:lnTo>
                    <a:pt x="360" y="57"/>
                  </a:lnTo>
                  <a:lnTo>
                    <a:pt x="378" y="44"/>
                  </a:lnTo>
                  <a:lnTo>
                    <a:pt x="400" y="36"/>
                  </a:lnTo>
                  <a:lnTo>
                    <a:pt x="430" y="72"/>
                  </a:lnTo>
                  <a:lnTo>
                    <a:pt x="478" y="74"/>
                  </a:lnTo>
                  <a:lnTo>
                    <a:pt x="492" y="102"/>
                  </a:lnTo>
                  <a:lnTo>
                    <a:pt x="534" y="94"/>
                  </a:lnTo>
                  <a:lnTo>
                    <a:pt x="549" y="75"/>
                  </a:lnTo>
                  <a:lnTo>
                    <a:pt x="570" y="90"/>
                  </a:lnTo>
                  <a:lnTo>
                    <a:pt x="594" y="42"/>
                  </a:lnTo>
                  <a:lnTo>
                    <a:pt x="627" y="87"/>
                  </a:lnTo>
                  <a:lnTo>
                    <a:pt x="684" y="105"/>
                  </a:lnTo>
                  <a:lnTo>
                    <a:pt x="732" y="30"/>
                  </a:lnTo>
                  <a:lnTo>
                    <a:pt x="774" y="57"/>
                  </a:lnTo>
                  <a:lnTo>
                    <a:pt x="819" y="57"/>
                  </a:lnTo>
                  <a:lnTo>
                    <a:pt x="861" y="60"/>
                  </a:lnTo>
                  <a:lnTo>
                    <a:pt x="882" y="81"/>
                  </a:lnTo>
                  <a:lnTo>
                    <a:pt x="892" y="22"/>
                  </a:lnTo>
                  <a:lnTo>
                    <a:pt x="918" y="0"/>
                  </a:lnTo>
                  <a:lnTo>
                    <a:pt x="939" y="3"/>
                  </a:lnTo>
                  <a:lnTo>
                    <a:pt x="1002" y="18"/>
                  </a:lnTo>
                  <a:lnTo>
                    <a:pt x="1044" y="33"/>
                  </a:lnTo>
                  <a:lnTo>
                    <a:pt x="1059" y="132"/>
                  </a:lnTo>
                  <a:lnTo>
                    <a:pt x="1059" y="156"/>
                  </a:lnTo>
                  <a:lnTo>
                    <a:pt x="1044" y="192"/>
                  </a:lnTo>
                  <a:lnTo>
                    <a:pt x="1062" y="207"/>
                  </a:lnTo>
                  <a:lnTo>
                    <a:pt x="1092" y="225"/>
                  </a:lnTo>
                  <a:lnTo>
                    <a:pt x="1050" y="270"/>
                  </a:lnTo>
                  <a:lnTo>
                    <a:pt x="1029" y="282"/>
                  </a:lnTo>
                  <a:lnTo>
                    <a:pt x="990" y="282"/>
                  </a:lnTo>
                  <a:lnTo>
                    <a:pt x="987" y="300"/>
                  </a:lnTo>
                  <a:lnTo>
                    <a:pt x="1017" y="315"/>
                  </a:lnTo>
                  <a:lnTo>
                    <a:pt x="1035" y="312"/>
                  </a:lnTo>
                  <a:lnTo>
                    <a:pt x="1008" y="345"/>
                  </a:lnTo>
                  <a:lnTo>
                    <a:pt x="987" y="366"/>
                  </a:lnTo>
                  <a:lnTo>
                    <a:pt x="951" y="372"/>
                  </a:lnTo>
                  <a:lnTo>
                    <a:pt x="936" y="390"/>
                  </a:lnTo>
                  <a:lnTo>
                    <a:pt x="915" y="405"/>
                  </a:lnTo>
                  <a:lnTo>
                    <a:pt x="924" y="435"/>
                  </a:lnTo>
                  <a:lnTo>
                    <a:pt x="903" y="450"/>
                  </a:lnTo>
                  <a:lnTo>
                    <a:pt x="888" y="438"/>
                  </a:lnTo>
                  <a:lnTo>
                    <a:pt x="882" y="459"/>
                  </a:lnTo>
                  <a:lnTo>
                    <a:pt x="873" y="477"/>
                  </a:lnTo>
                  <a:lnTo>
                    <a:pt x="855" y="456"/>
                  </a:lnTo>
                  <a:lnTo>
                    <a:pt x="828" y="474"/>
                  </a:lnTo>
                  <a:lnTo>
                    <a:pt x="825" y="426"/>
                  </a:lnTo>
                  <a:lnTo>
                    <a:pt x="792" y="414"/>
                  </a:lnTo>
                  <a:lnTo>
                    <a:pt x="756" y="444"/>
                  </a:lnTo>
                  <a:lnTo>
                    <a:pt x="732" y="477"/>
                  </a:lnTo>
                  <a:lnTo>
                    <a:pt x="705" y="486"/>
                  </a:lnTo>
                  <a:lnTo>
                    <a:pt x="699" y="516"/>
                  </a:lnTo>
                  <a:lnTo>
                    <a:pt x="675" y="531"/>
                  </a:lnTo>
                  <a:lnTo>
                    <a:pt x="678" y="552"/>
                  </a:lnTo>
                  <a:lnTo>
                    <a:pt x="648" y="570"/>
                  </a:lnTo>
                  <a:lnTo>
                    <a:pt x="624" y="573"/>
                  </a:lnTo>
                  <a:lnTo>
                    <a:pt x="627" y="546"/>
                  </a:lnTo>
                  <a:lnTo>
                    <a:pt x="609" y="534"/>
                  </a:lnTo>
                  <a:lnTo>
                    <a:pt x="576" y="546"/>
                  </a:lnTo>
                  <a:lnTo>
                    <a:pt x="558" y="549"/>
                  </a:lnTo>
                  <a:lnTo>
                    <a:pt x="534" y="519"/>
                  </a:lnTo>
                  <a:lnTo>
                    <a:pt x="510" y="519"/>
                  </a:lnTo>
                  <a:lnTo>
                    <a:pt x="516" y="543"/>
                  </a:lnTo>
                  <a:lnTo>
                    <a:pt x="504" y="561"/>
                  </a:lnTo>
                  <a:lnTo>
                    <a:pt x="480" y="570"/>
                  </a:lnTo>
                  <a:lnTo>
                    <a:pt x="441" y="561"/>
                  </a:lnTo>
                  <a:lnTo>
                    <a:pt x="432" y="525"/>
                  </a:lnTo>
                  <a:lnTo>
                    <a:pt x="444" y="498"/>
                  </a:lnTo>
                  <a:lnTo>
                    <a:pt x="450" y="471"/>
                  </a:lnTo>
                  <a:lnTo>
                    <a:pt x="438" y="450"/>
                  </a:lnTo>
                  <a:lnTo>
                    <a:pt x="393" y="453"/>
                  </a:lnTo>
                  <a:lnTo>
                    <a:pt x="360" y="465"/>
                  </a:lnTo>
                  <a:lnTo>
                    <a:pt x="333" y="480"/>
                  </a:lnTo>
                  <a:lnTo>
                    <a:pt x="339" y="498"/>
                  </a:lnTo>
                  <a:lnTo>
                    <a:pt x="316" y="516"/>
                  </a:lnTo>
                  <a:lnTo>
                    <a:pt x="297" y="513"/>
                  </a:lnTo>
                  <a:lnTo>
                    <a:pt x="231" y="549"/>
                  </a:lnTo>
                  <a:lnTo>
                    <a:pt x="216" y="522"/>
                  </a:lnTo>
                  <a:lnTo>
                    <a:pt x="228" y="501"/>
                  </a:lnTo>
                  <a:lnTo>
                    <a:pt x="154" y="482"/>
                  </a:lnTo>
                  <a:lnTo>
                    <a:pt x="129" y="465"/>
                  </a:lnTo>
                  <a:lnTo>
                    <a:pt x="81" y="429"/>
                  </a:lnTo>
                  <a:lnTo>
                    <a:pt x="54" y="456"/>
                  </a:lnTo>
                  <a:lnTo>
                    <a:pt x="30" y="396"/>
                  </a:lnTo>
                  <a:lnTo>
                    <a:pt x="18" y="333"/>
                  </a:lnTo>
                  <a:lnTo>
                    <a:pt x="24" y="294"/>
                  </a:lnTo>
                  <a:lnTo>
                    <a:pt x="2" y="284"/>
                  </a:lnTo>
                  <a:lnTo>
                    <a:pt x="0" y="261"/>
                  </a:lnTo>
                  <a:lnTo>
                    <a:pt x="36" y="255"/>
                  </a:lnTo>
                  <a:lnTo>
                    <a:pt x="63" y="225"/>
                  </a:lnTo>
                  <a:lnTo>
                    <a:pt x="75" y="150"/>
                  </a:lnTo>
                  <a:lnTo>
                    <a:pt x="75" y="114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 271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02713" y="3232486"/>
              <a:ext cx="1256238" cy="1459464"/>
            </a:xfrm>
            <a:custGeom>
              <a:avLst/>
              <a:gdLst>
                <a:gd name="T0" fmla="*/ 448412 w 1356"/>
                <a:gd name="T1" fmla="*/ 186690 h 1140"/>
                <a:gd name="T2" fmla="*/ 470444 w 1356"/>
                <a:gd name="T3" fmla="*/ 93345 h 1140"/>
                <a:gd name="T4" fmla="*/ 548204 w 1356"/>
                <a:gd name="T5" fmla="*/ 51858 h 1140"/>
                <a:gd name="T6" fmla="*/ 590971 w 1356"/>
                <a:gd name="T7" fmla="*/ 127053 h 1140"/>
                <a:gd name="T8" fmla="*/ 662251 w 1356"/>
                <a:gd name="T9" fmla="*/ 149093 h 1140"/>
                <a:gd name="T10" fmla="*/ 771114 w 1356"/>
                <a:gd name="T11" fmla="*/ 140018 h 1140"/>
                <a:gd name="T12" fmla="*/ 864425 w 1356"/>
                <a:gd name="T13" fmla="*/ 82973 h 1140"/>
                <a:gd name="T14" fmla="*/ 926633 w 1356"/>
                <a:gd name="T15" fmla="*/ 15558 h 1140"/>
                <a:gd name="T16" fmla="*/ 1030312 w 1356"/>
                <a:gd name="T17" fmla="*/ 24633 h 1140"/>
                <a:gd name="T18" fmla="*/ 1141767 w 1356"/>
                <a:gd name="T19" fmla="*/ 98531 h 1140"/>
                <a:gd name="T20" fmla="*/ 1226006 w 1356"/>
                <a:gd name="T21" fmla="*/ 160761 h 1140"/>
                <a:gd name="T22" fmla="*/ 1312837 w 1356"/>
                <a:gd name="T23" fmla="*/ 220398 h 1140"/>
                <a:gd name="T24" fmla="*/ 1403557 w 1356"/>
                <a:gd name="T25" fmla="*/ 267070 h 1140"/>
                <a:gd name="T26" fmla="*/ 1496868 w 1356"/>
                <a:gd name="T27" fmla="*/ 260588 h 1140"/>
                <a:gd name="T28" fmla="*/ 1543524 w 1356"/>
                <a:gd name="T29" fmla="*/ 229473 h 1140"/>
                <a:gd name="T30" fmla="*/ 1614803 w 1356"/>
                <a:gd name="T31" fmla="*/ 160761 h 1140"/>
                <a:gd name="T32" fmla="*/ 1608323 w 1356"/>
                <a:gd name="T33" fmla="*/ 220398 h 1140"/>
                <a:gd name="T34" fmla="*/ 1695155 w 1356"/>
                <a:gd name="T35" fmla="*/ 269663 h 1140"/>
                <a:gd name="T36" fmla="*/ 1748290 w 1356"/>
                <a:gd name="T37" fmla="*/ 307261 h 1140"/>
                <a:gd name="T38" fmla="*/ 1677011 w 1356"/>
                <a:gd name="T39" fmla="*/ 338376 h 1140"/>
                <a:gd name="T40" fmla="*/ 1701634 w 1356"/>
                <a:gd name="T41" fmla="*/ 453761 h 1140"/>
                <a:gd name="T42" fmla="*/ 1623875 w 1356"/>
                <a:gd name="T43" fmla="*/ 538030 h 1140"/>
                <a:gd name="T44" fmla="*/ 1552596 w 1356"/>
                <a:gd name="T45" fmla="*/ 611928 h 1140"/>
                <a:gd name="T46" fmla="*/ 1605731 w 1356"/>
                <a:gd name="T47" fmla="*/ 798619 h 1140"/>
                <a:gd name="T48" fmla="*/ 1623875 w 1356"/>
                <a:gd name="T49" fmla="*/ 898446 h 1140"/>
                <a:gd name="T50" fmla="*/ 1537044 w 1356"/>
                <a:gd name="T51" fmla="*/ 1004755 h 1140"/>
                <a:gd name="T52" fmla="*/ 1450213 w 1356"/>
                <a:gd name="T53" fmla="*/ 991791 h 1140"/>
                <a:gd name="T54" fmla="*/ 1330982 w 1356"/>
                <a:gd name="T55" fmla="*/ 1031981 h 1140"/>
                <a:gd name="T56" fmla="*/ 1237670 w 1356"/>
                <a:gd name="T57" fmla="*/ 1007348 h 1140"/>
                <a:gd name="T58" fmla="*/ 1175463 w 1356"/>
                <a:gd name="T59" fmla="*/ 1026795 h 1140"/>
                <a:gd name="T60" fmla="*/ 1163799 w 1356"/>
                <a:gd name="T61" fmla="*/ 1151255 h 1140"/>
                <a:gd name="T62" fmla="*/ 1150839 w 1356"/>
                <a:gd name="T63" fmla="*/ 1312016 h 1140"/>
                <a:gd name="T64" fmla="*/ 1150839 w 1356"/>
                <a:gd name="T65" fmla="*/ 1449441 h 1140"/>
                <a:gd name="T66" fmla="*/ 1117143 w 1356"/>
                <a:gd name="T67" fmla="*/ 1442959 h 1140"/>
                <a:gd name="T68" fmla="*/ 1086039 w 1356"/>
                <a:gd name="T69" fmla="*/ 1334056 h 1140"/>
                <a:gd name="T70" fmla="*/ 1014760 w 1356"/>
                <a:gd name="T71" fmla="*/ 1306830 h 1140"/>
                <a:gd name="T72" fmla="*/ 968104 w 1356"/>
                <a:gd name="T73" fmla="*/ 1249786 h 1140"/>
                <a:gd name="T74" fmla="*/ 892937 w 1356"/>
                <a:gd name="T75" fmla="*/ 1265344 h 1140"/>
                <a:gd name="T76" fmla="*/ 852761 w 1356"/>
                <a:gd name="T77" fmla="*/ 1256268 h 1140"/>
                <a:gd name="T78" fmla="*/ 797034 w 1356"/>
                <a:gd name="T79" fmla="*/ 1253675 h 1140"/>
                <a:gd name="T80" fmla="*/ 719274 w 1356"/>
                <a:gd name="T81" fmla="*/ 1249786 h 1140"/>
                <a:gd name="T82" fmla="*/ 615595 w 1356"/>
                <a:gd name="T83" fmla="*/ 1247193 h 1140"/>
                <a:gd name="T84" fmla="*/ 519692 w 1356"/>
                <a:gd name="T85" fmla="*/ 1244600 h 1140"/>
                <a:gd name="T86" fmla="*/ 417309 w 1356"/>
                <a:gd name="T87" fmla="*/ 1234229 h 1140"/>
                <a:gd name="T88" fmla="*/ 346029 w 1356"/>
                <a:gd name="T89" fmla="*/ 1207003 h 1140"/>
                <a:gd name="T90" fmla="*/ 268270 w 1356"/>
                <a:gd name="T91" fmla="*/ 1209596 h 1140"/>
                <a:gd name="T92" fmla="*/ 195694 w 1356"/>
                <a:gd name="T93" fmla="*/ 1262751 h 1140"/>
                <a:gd name="T94" fmla="*/ 86831 w 1356"/>
                <a:gd name="T95" fmla="*/ 1262751 h 1140"/>
                <a:gd name="T96" fmla="*/ 112751 w 1356"/>
                <a:gd name="T97" fmla="*/ 1191445 h 1140"/>
                <a:gd name="T98" fmla="*/ 121823 w 1356"/>
                <a:gd name="T99" fmla="*/ 1013831 h 1140"/>
                <a:gd name="T100" fmla="*/ 50544 w 1356"/>
                <a:gd name="T101" fmla="*/ 967158 h 1140"/>
                <a:gd name="T102" fmla="*/ 84239 w 1356"/>
                <a:gd name="T103" fmla="*/ 904928 h 1140"/>
                <a:gd name="T104" fmla="*/ 86831 w 1356"/>
                <a:gd name="T105" fmla="*/ 808990 h 1140"/>
                <a:gd name="T106" fmla="*/ 66095 w 1356"/>
                <a:gd name="T107" fmla="*/ 740278 h 1140"/>
                <a:gd name="T108" fmla="*/ 31104 w 1356"/>
                <a:gd name="T109" fmla="*/ 674159 h 1140"/>
                <a:gd name="T110" fmla="*/ 3888 w 1356"/>
                <a:gd name="T111" fmla="*/ 593778 h 1140"/>
                <a:gd name="T112" fmla="*/ 22032 w 1356"/>
                <a:gd name="T113" fmla="*/ 525066 h 1140"/>
                <a:gd name="T114" fmla="*/ 146447 w 1356"/>
                <a:gd name="T115" fmla="*/ 462836 h 1140"/>
                <a:gd name="T116" fmla="*/ 242350 w 1356"/>
                <a:gd name="T117" fmla="*/ 438203 h 1140"/>
                <a:gd name="T118" fmla="*/ 230686 w 1356"/>
                <a:gd name="T119" fmla="*/ 344858 h 1140"/>
                <a:gd name="T120" fmla="*/ 149039 w 1356"/>
                <a:gd name="T121" fmla="*/ 254106 h 1140"/>
                <a:gd name="T122" fmla="*/ 137375 w 1356"/>
                <a:gd name="T123" fmla="*/ 167243 h 1140"/>
                <a:gd name="T124" fmla="*/ 202174 w 1356"/>
                <a:gd name="T125" fmla="*/ 82973 h 11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6"/>
                <a:gd name="T190" fmla="*/ 0 h 1140"/>
                <a:gd name="T191" fmla="*/ 1356 w 1356"/>
                <a:gd name="T192" fmla="*/ 1140 h 11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6" h="1140">
                  <a:moveTo>
                    <a:pt x="199" y="0"/>
                  </a:moveTo>
                  <a:lnTo>
                    <a:pt x="327" y="153"/>
                  </a:lnTo>
                  <a:lnTo>
                    <a:pt x="346" y="144"/>
                  </a:lnTo>
                  <a:lnTo>
                    <a:pt x="355" y="124"/>
                  </a:lnTo>
                  <a:lnTo>
                    <a:pt x="384" y="110"/>
                  </a:lnTo>
                  <a:lnTo>
                    <a:pt x="363" y="72"/>
                  </a:lnTo>
                  <a:lnTo>
                    <a:pt x="384" y="60"/>
                  </a:lnTo>
                  <a:lnTo>
                    <a:pt x="394" y="36"/>
                  </a:lnTo>
                  <a:lnTo>
                    <a:pt x="423" y="40"/>
                  </a:lnTo>
                  <a:lnTo>
                    <a:pt x="442" y="57"/>
                  </a:lnTo>
                  <a:lnTo>
                    <a:pt x="454" y="74"/>
                  </a:lnTo>
                  <a:lnTo>
                    <a:pt x="456" y="98"/>
                  </a:lnTo>
                  <a:lnTo>
                    <a:pt x="483" y="91"/>
                  </a:lnTo>
                  <a:lnTo>
                    <a:pt x="502" y="88"/>
                  </a:lnTo>
                  <a:lnTo>
                    <a:pt x="511" y="115"/>
                  </a:lnTo>
                  <a:lnTo>
                    <a:pt x="528" y="127"/>
                  </a:lnTo>
                  <a:lnTo>
                    <a:pt x="555" y="108"/>
                  </a:lnTo>
                  <a:lnTo>
                    <a:pt x="595" y="108"/>
                  </a:lnTo>
                  <a:lnTo>
                    <a:pt x="624" y="93"/>
                  </a:lnTo>
                  <a:lnTo>
                    <a:pt x="655" y="93"/>
                  </a:lnTo>
                  <a:lnTo>
                    <a:pt x="667" y="64"/>
                  </a:lnTo>
                  <a:lnTo>
                    <a:pt x="672" y="48"/>
                  </a:lnTo>
                  <a:lnTo>
                    <a:pt x="701" y="50"/>
                  </a:lnTo>
                  <a:lnTo>
                    <a:pt x="715" y="12"/>
                  </a:lnTo>
                  <a:lnTo>
                    <a:pt x="754" y="12"/>
                  </a:lnTo>
                  <a:lnTo>
                    <a:pt x="768" y="21"/>
                  </a:lnTo>
                  <a:lnTo>
                    <a:pt x="795" y="19"/>
                  </a:lnTo>
                  <a:lnTo>
                    <a:pt x="831" y="36"/>
                  </a:lnTo>
                  <a:lnTo>
                    <a:pt x="850" y="64"/>
                  </a:lnTo>
                  <a:lnTo>
                    <a:pt x="881" y="76"/>
                  </a:lnTo>
                  <a:lnTo>
                    <a:pt x="895" y="115"/>
                  </a:lnTo>
                  <a:lnTo>
                    <a:pt x="912" y="132"/>
                  </a:lnTo>
                  <a:lnTo>
                    <a:pt x="946" y="124"/>
                  </a:lnTo>
                  <a:lnTo>
                    <a:pt x="989" y="136"/>
                  </a:lnTo>
                  <a:lnTo>
                    <a:pt x="1008" y="146"/>
                  </a:lnTo>
                  <a:lnTo>
                    <a:pt x="1013" y="170"/>
                  </a:lnTo>
                  <a:lnTo>
                    <a:pt x="1047" y="192"/>
                  </a:lnTo>
                  <a:lnTo>
                    <a:pt x="1063" y="218"/>
                  </a:lnTo>
                  <a:lnTo>
                    <a:pt x="1083" y="206"/>
                  </a:lnTo>
                  <a:lnTo>
                    <a:pt x="1104" y="201"/>
                  </a:lnTo>
                  <a:lnTo>
                    <a:pt x="1123" y="206"/>
                  </a:lnTo>
                  <a:lnTo>
                    <a:pt x="1155" y="201"/>
                  </a:lnTo>
                  <a:lnTo>
                    <a:pt x="1167" y="213"/>
                  </a:lnTo>
                  <a:lnTo>
                    <a:pt x="1193" y="196"/>
                  </a:lnTo>
                  <a:lnTo>
                    <a:pt x="1191" y="177"/>
                  </a:lnTo>
                  <a:lnTo>
                    <a:pt x="1217" y="151"/>
                  </a:lnTo>
                  <a:lnTo>
                    <a:pt x="1229" y="117"/>
                  </a:lnTo>
                  <a:lnTo>
                    <a:pt x="1246" y="124"/>
                  </a:lnTo>
                  <a:lnTo>
                    <a:pt x="1248" y="139"/>
                  </a:lnTo>
                  <a:lnTo>
                    <a:pt x="1234" y="158"/>
                  </a:lnTo>
                  <a:lnTo>
                    <a:pt x="1241" y="170"/>
                  </a:lnTo>
                  <a:lnTo>
                    <a:pt x="1258" y="170"/>
                  </a:lnTo>
                  <a:lnTo>
                    <a:pt x="1282" y="187"/>
                  </a:lnTo>
                  <a:lnTo>
                    <a:pt x="1308" y="208"/>
                  </a:lnTo>
                  <a:lnTo>
                    <a:pt x="1347" y="208"/>
                  </a:lnTo>
                  <a:lnTo>
                    <a:pt x="1356" y="223"/>
                  </a:lnTo>
                  <a:lnTo>
                    <a:pt x="1349" y="237"/>
                  </a:lnTo>
                  <a:lnTo>
                    <a:pt x="1327" y="235"/>
                  </a:lnTo>
                  <a:lnTo>
                    <a:pt x="1306" y="242"/>
                  </a:lnTo>
                  <a:lnTo>
                    <a:pt x="1294" y="261"/>
                  </a:lnTo>
                  <a:lnTo>
                    <a:pt x="1299" y="292"/>
                  </a:lnTo>
                  <a:lnTo>
                    <a:pt x="1315" y="321"/>
                  </a:lnTo>
                  <a:lnTo>
                    <a:pt x="1313" y="350"/>
                  </a:lnTo>
                  <a:lnTo>
                    <a:pt x="1306" y="376"/>
                  </a:lnTo>
                  <a:lnTo>
                    <a:pt x="1282" y="393"/>
                  </a:lnTo>
                  <a:lnTo>
                    <a:pt x="1253" y="415"/>
                  </a:lnTo>
                  <a:lnTo>
                    <a:pt x="1217" y="424"/>
                  </a:lnTo>
                  <a:lnTo>
                    <a:pt x="1203" y="444"/>
                  </a:lnTo>
                  <a:lnTo>
                    <a:pt x="1198" y="472"/>
                  </a:lnTo>
                  <a:lnTo>
                    <a:pt x="1191" y="499"/>
                  </a:lnTo>
                  <a:lnTo>
                    <a:pt x="1203" y="549"/>
                  </a:lnTo>
                  <a:cubicBezTo>
                    <a:pt x="1218" y="578"/>
                    <a:pt x="1223" y="595"/>
                    <a:pt x="1239" y="616"/>
                  </a:cubicBezTo>
                  <a:lnTo>
                    <a:pt x="1253" y="638"/>
                  </a:lnTo>
                  <a:lnTo>
                    <a:pt x="1258" y="667"/>
                  </a:lnTo>
                  <a:lnTo>
                    <a:pt x="1253" y="693"/>
                  </a:lnTo>
                  <a:lnTo>
                    <a:pt x="1255" y="717"/>
                  </a:lnTo>
                  <a:lnTo>
                    <a:pt x="1222" y="727"/>
                  </a:lnTo>
                  <a:lnTo>
                    <a:pt x="1186" y="775"/>
                  </a:lnTo>
                  <a:lnTo>
                    <a:pt x="1164" y="794"/>
                  </a:lnTo>
                  <a:lnTo>
                    <a:pt x="1143" y="765"/>
                  </a:lnTo>
                  <a:lnTo>
                    <a:pt x="1119" y="765"/>
                  </a:lnTo>
                  <a:lnTo>
                    <a:pt x="1090" y="775"/>
                  </a:lnTo>
                  <a:lnTo>
                    <a:pt x="1054" y="784"/>
                  </a:lnTo>
                  <a:lnTo>
                    <a:pt x="1027" y="796"/>
                  </a:lnTo>
                  <a:lnTo>
                    <a:pt x="994" y="792"/>
                  </a:lnTo>
                  <a:lnTo>
                    <a:pt x="975" y="787"/>
                  </a:lnTo>
                  <a:lnTo>
                    <a:pt x="955" y="777"/>
                  </a:lnTo>
                  <a:lnTo>
                    <a:pt x="929" y="780"/>
                  </a:lnTo>
                  <a:lnTo>
                    <a:pt x="912" y="768"/>
                  </a:lnTo>
                  <a:lnTo>
                    <a:pt x="907" y="792"/>
                  </a:lnTo>
                  <a:lnTo>
                    <a:pt x="900" y="820"/>
                  </a:lnTo>
                  <a:lnTo>
                    <a:pt x="907" y="847"/>
                  </a:lnTo>
                  <a:lnTo>
                    <a:pt x="898" y="888"/>
                  </a:lnTo>
                  <a:lnTo>
                    <a:pt x="903" y="926"/>
                  </a:lnTo>
                  <a:lnTo>
                    <a:pt x="895" y="967"/>
                  </a:lnTo>
                  <a:lnTo>
                    <a:pt x="888" y="1012"/>
                  </a:lnTo>
                  <a:lnTo>
                    <a:pt x="898" y="1053"/>
                  </a:lnTo>
                  <a:lnTo>
                    <a:pt x="886" y="1084"/>
                  </a:lnTo>
                  <a:lnTo>
                    <a:pt x="888" y="1118"/>
                  </a:lnTo>
                  <a:lnTo>
                    <a:pt x="886" y="1140"/>
                  </a:lnTo>
                  <a:lnTo>
                    <a:pt x="871" y="1135"/>
                  </a:lnTo>
                  <a:lnTo>
                    <a:pt x="862" y="1113"/>
                  </a:lnTo>
                  <a:lnTo>
                    <a:pt x="845" y="1092"/>
                  </a:lnTo>
                  <a:lnTo>
                    <a:pt x="843" y="1072"/>
                  </a:lnTo>
                  <a:lnTo>
                    <a:pt x="838" y="1029"/>
                  </a:lnTo>
                  <a:lnTo>
                    <a:pt x="811" y="1029"/>
                  </a:lnTo>
                  <a:lnTo>
                    <a:pt x="797" y="1010"/>
                  </a:lnTo>
                  <a:lnTo>
                    <a:pt x="783" y="1008"/>
                  </a:lnTo>
                  <a:lnTo>
                    <a:pt x="768" y="1003"/>
                  </a:lnTo>
                  <a:lnTo>
                    <a:pt x="744" y="988"/>
                  </a:lnTo>
                  <a:lnTo>
                    <a:pt x="747" y="964"/>
                  </a:lnTo>
                  <a:lnTo>
                    <a:pt x="730" y="962"/>
                  </a:lnTo>
                  <a:lnTo>
                    <a:pt x="703" y="976"/>
                  </a:lnTo>
                  <a:lnTo>
                    <a:pt x="689" y="976"/>
                  </a:lnTo>
                  <a:lnTo>
                    <a:pt x="691" y="962"/>
                  </a:lnTo>
                  <a:lnTo>
                    <a:pt x="675" y="957"/>
                  </a:lnTo>
                  <a:lnTo>
                    <a:pt x="658" y="969"/>
                  </a:lnTo>
                  <a:lnTo>
                    <a:pt x="651" y="981"/>
                  </a:lnTo>
                  <a:lnTo>
                    <a:pt x="634" y="974"/>
                  </a:lnTo>
                  <a:lnTo>
                    <a:pt x="615" y="967"/>
                  </a:lnTo>
                  <a:lnTo>
                    <a:pt x="600" y="974"/>
                  </a:lnTo>
                  <a:lnTo>
                    <a:pt x="586" y="974"/>
                  </a:lnTo>
                  <a:lnTo>
                    <a:pt x="555" y="964"/>
                  </a:lnTo>
                  <a:lnTo>
                    <a:pt x="528" y="948"/>
                  </a:lnTo>
                  <a:lnTo>
                    <a:pt x="507" y="943"/>
                  </a:lnTo>
                  <a:lnTo>
                    <a:pt x="475" y="962"/>
                  </a:lnTo>
                  <a:lnTo>
                    <a:pt x="447" y="981"/>
                  </a:lnTo>
                  <a:lnTo>
                    <a:pt x="432" y="984"/>
                  </a:lnTo>
                  <a:lnTo>
                    <a:pt x="401" y="960"/>
                  </a:lnTo>
                  <a:lnTo>
                    <a:pt x="372" y="933"/>
                  </a:lnTo>
                  <a:lnTo>
                    <a:pt x="348" y="948"/>
                  </a:lnTo>
                  <a:lnTo>
                    <a:pt x="322" y="952"/>
                  </a:lnTo>
                  <a:lnTo>
                    <a:pt x="310" y="938"/>
                  </a:lnTo>
                  <a:lnTo>
                    <a:pt x="283" y="936"/>
                  </a:lnTo>
                  <a:lnTo>
                    <a:pt x="267" y="931"/>
                  </a:lnTo>
                  <a:lnTo>
                    <a:pt x="250" y="919"/>
                  </a:lnTo>
                  <a:lnTo>
                    <a:pt x="221" y="945"/>
                  </a:lnTo>
                  <a:lnTo>
                    <a:pt x="207" y="933"/>
                  </a:lnTo>
                  <a:lnTo>
                    <a:pt x="185" y="955"/>
                  </a:lnTo>
                  <a:lnTo>
                    <a:pt x="166" y="957"/>
                  </a:lnTo>
                  <a:lnTo>
                    <a:pt x="151" y="974"/>
                  </a:lnTo>
                  <a:lnTo>
                    <a:pt x="120" y="967"/>
                  </a:lnTo>
                  <a:lnTo>
                    <a:pt x="96" y="991"/>
                  </a:lnTo>
                  <a:lnTo>
                    <a:pt x="67" y="974"/>
                  </a:lnTo>
                  <a:lnTo>
                    <a:pt x="55" y="960"/>
                  </a:lnTo>
                  <a:lnTo>
                    <a:pt x="55" y="928"/>
                  </a:lnTo>
                  <a:lnTo>
                    <a:pt x="87" y="919"/>
                  </a:lnTo>
                  <a:lnTo>
                    <a:pt x="65" y="873"/>
                  </a:lnTo>
                  <a:lnTo>
                    <a:pt x="70" y="832"/>
                  </a:lnTo>
                  <a:lnTo>
                    <a:pt x="94" y="782"/>
                  </a:lnTo>
                  <a:lnTo>
                    <a:pt x="65" y="777"/>
                  </a:lnTo>
                  <a:lnTo>
                    <a:pt x="58" y="756"/>
                  </a:lnTo>
                  <a:lnTo>
                    <a:pt x="39" y="746"/>
                  </a:lnTo>
                  <a:lnTo>
                    <a:pt x="22" y="724"/>
                  </a:lnTo>
                  <a:lnTo>
                    <a:pt x="41" y="703"/>
                  </a:lnTo>
                  <a:lnTo>
                    <a:pt x="65" y="698"/>
                  </a:lnTo>
                  <a:lnTo>
                    <a:pt x="77" y="672"/>
                  </a:lnTo>
                  <a:lnTo>
                    <a:pt x="75" y="645"/>
                  </a:lnTo>
                  <a:lnTo>
                    <a:pt x="67" y="624"/>
                  </a:lnTo>
                  <a:lnTo>
                    <a:pt x="51" y="607"/>
                  </a:lnTo>
                  <a:lnTo>
                    <a:pt x="31" y="595"/>
                  </a:lnTo>
                  <a:lnTo>
                    <a:pt x="51" y="571"/>
                  </a:lnTo>
                  <a:lnTo>
                    <a:pt x="55" y="547"/>
                  </a:lnTo>
                  <a:lnTo>
                    <a:pt x="43" y="525"/>
                  </a:lnTo>
                  <a:lnTo>
                    <a:pt x="24" y="520"/>
                  </a:lnTo>
                  <a:lnTo>
                    <a:pt x="10" y="496"/>
                  </a:lnTo>
                  <a:lnTo>
                    <a:pt x="12" y="477"/>
                  </a:lnTo>
                  <a:lnTo>
                    <a:pt x="3" y="458"/>
                  </a:lnTo>
                  <a:lnTo>
                    <a:pt x="7" y="439"/>
                  </a:lnTo>
                  <a:lnTo>
                    <a:pt x="0" y="424"/>
                  </a:lnTo>
                  <a:lnTo>
                    <a:pt x="17" y="405"/>
                  </a:lnTo>
                  <a:lnTo>
                    <a:pt x="43" y="384"/>
                  </a:lnTo>
                  <a:lnTo>
                    <a:pt x="65" y="350"/>
                  </a:lnTo>
                  <a:lnTo>
                    <a:pt x="113" y="357"/>
                  </a:lnTo>
                  <a:lnTo>
                    <a:pt x="154" y="367"/>
                  </a:lnTo>
                  <a:lnTo>
                    <a:pt x="173" y="360"/>
                  </a:lnTo>
                  <a:lnTo>
                    <a:pt x="187" y="338"/>
                  </a:lnTo>
                  <a:lnTo>
                    <a:pt x="192" y="316"/>
                  </a:lnTo>
                  <a:lnTo>
                    <a:pt x="199" y="290"/>
                  </a:lnTo>
                  <a:lnTo>
                    <a:pt x="178" y="266"/>
                  </a:lnTo>
                  <a:lnTo>
                    <a:pt x="161" y="223"/>
                  </a:lnTo>
                  <a:lnTo>
                    <a:pt x="139" y="208"/>
                  </a:lnTo>
                  <a:lnTo>
                    <a:pt x="115" y="196"/>
                  </a:lnTo>
                  <a:lnTo>
                    <a:pt x="91" y="182"/>
                  </a:lnTo>
                  <a:lnTo>
                    <a:pt x="72" y="153"/>
                  </a:lnTo>
                  <a:lnTo>
                    <a:pt x="106" y="129"/>
                  </a:lnTo>
                  <a:lnTo>
                    <a:pt x="151" y="93"/>
                  </a:lnTo>
                  <a:lnTo>
                    <a:pt x="139" y="79"/>
                  </a:lnTo>
                  <a:lnTo>
                    <a:pt x="156" y="64"/>
                  </a:lnTo>
                  <a:lnTo>
                    <a:pt x="175" y="57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 272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3192592" y="4867523"/>
              <a:ext cx="964591" cy="1033068"/>
            </a:xfrm>
            <a:custGeom>
              <a:avLst/>
              <a:gdLst>
                <a:gd name="T0" fmla="*/ 159436 w 1041"/>
                <a:gd name="T1" fmla="*/ 73892 h 807"/>
                <a:gd name="T2" fmla="*/ 307206 w 1041"/>
                <a:gd name="T3" fmla="*/ 54447 h 807"/>
                <a:gd name="T4" fmla="*/ 622190 w 1041"/>
                <a:gd name="T5" fmla="*/ 23334 h 807"/>
                <a:gd name="T6" fmla="*/ 843845 w 1041"/>
                <a:gd name="T7" fmla="*/ 0 h 807"/>
                <a:gd name="T8" fmla="*/ 863289 w 1041"/>
                <a:gd name="T9" fmla="*/ 124451 h 807"/>
                <a:gd name="T10" fmla="*/ 878844 w 1041"/>
                <a:gd name="T11" fmla="*/ 198343 h 807"/>
                <a:gd name="T12" fmla="*/ 948840 w 1041"/>
                <a:gd name="T13" fmla="*/ 248901 h 807"/>
                <a:gd name="T14" fmla="*/ 1018836 w 1041"/>
                <a:gd name="T15" fmla="*/ 307237 h 807"/>
                <a:gd name="T16" fmla="*/ 1038280 w 1041"/>
                <a:gd name="T17" fmla="*/ 388908 h 807"/>
                <a:gd name="T18" fmla="*/ 1119942 w 1041"/>
                <a:gd name="T19" fmla="*/ 412242 h 807"/>
                <a:gd name="T20" fmla="*/ 1209382 w 1041"/>
                <a:gd name="T21" fmla="*/ 521136 h 807"/>
                <a:gd name="T22" fmla="*/ 1166606 w 1041"/>
                <a:gd name="T23" fmla="*/ 598918 h 807"/>
                <a:gd name="T24" fmla="*/ 1232714 w 1041"/>
                <a:gd name="T25" fmla="*/ 672811 h 807"/>
                <a:gd name="T26" fmla="*/ 1302710 w 1041"/>
                <a:gd name="T27" fmla="*/ 723369 h 807"/>
                <a:gd name="T28" fmla="*/ 1294933 w 1041"/>
                <a:gd name="T29" fmla="*/ 773927 h 807"/>
                <a:gd name="T30" fmla="*/ 1182161 w 1041"/>
                <a:gd name="T31" fmla="*/ 738925 h 807"/>
                <a:gd name="T32" fmla="*/ 1104387 w 1041"/>
                <a:gd name="T33" fmla="*/ 711701 h 807"/>
                <a:gd name="T34" fmla="*/ 1046057 w 1041"/>
                <a:gd name="T35" fmla="*/ 715590 h 807"/>
                <a:gd name="T36" fmla="*/ 1007170 w 1041"/>
                <a:gd name="T37" fmla="*/ 735036 h 807"/>
                <a:gd name="T38" fmla="*/ 933285 w 1041"/>
                <a:gd name="T39" fmla="*/ 801150 h 807"/>
                <a:gd name="T40" fmla="*/ 952729 w 1041"/>
                <a:gd name="T41" fmla="*/ 902266 h 807"/>
                <a:gd name="T42" fmla="*/ 937174 w 1041"/>
                <a:gd name="T43" fmla="*/ 933379 h 807"/>
                <a:gd name="T44" fmla="*/ 851623 w 1041"/>
                <a:gd name="T45" fmla="*/ 917822 h 807"/>
                <a:gd name="T46" fmla="*/ 785515 w 1041"/>
                <a:gd name="T47" fmla="*/ 886710 h 807"/>
                <a:gd name="T48" fmla="*/ 703853 w 1041"/>
                <a:gd name="T49" fmla="*/ 875043 h 807"/>
                <a:gd name="T50" fmla="*/ 633856 w 1041"/>
                <a:gd name="T51" fmla="*/ 867264 h 807"/>
                <a:gd name="T52" fmla="*/ 548305 w 1041"/>
                <a:gd name="T53" fmla="*/ 890599 h 807"/>
                <a:gd name="T54" fmla="*/ 478309 w 1041"/>
                <a:gd name="T55" fmla="*/ 948935 h 807"/>
                <a:gd name="T56" fmla="*/ 466643 w 1041"/>
                <a:gd name="T57" fmla="*/ 1011160 h 807"/>
                <a:gd name="T58" fmla="*/ 439422 w 1041"/>
                <a:gd name="T59" fmla="*/ 1003382 h 807"/>
                <a:gd name="T60" fmla="*/ 377203 w 1041"/>
                <a:gd name="T61" fmla="*/ 956713 h 807"/>
                <a:gd name="T62" fmla="*/ 322761 w 1041"/>
                <a:gd name="T63" fmla="*/ 886710 h 807"/>
                <a:gd name="T64" fmla="*/ 264431 w 1041"/>
                <a:gd name="T65" fmla="*/ 816706 h 807"/>
                <a:gd name="T66" fmla="*/ 198323 w 1041"/>
                <a:gd name="T67" fmla="*/ 805039 h 807"/>
                <a:gd name="T68" fmla="*/ 174991 w 1041"/>
                <a:gd name="T69" fmla="*/ 700034 h 807"/>
                <a:gd name="T70" fmla="*/ 186657 w 1041"/>
                <a:gd name="T71" fmla="*/ 610585 h 807"/>
                <a:gd name="T72" fmla="*/ 186657 w 1041"/>
                <a:gd name="T73" fmla="*/ 482246 h 807"/>
                <a:gd name="T74" fmla="*/ 128327 w 1041"/>
                <a:gd name="T75" fmla="*/ 357795 h 807"/>
                <a:gd name="T76" fmla="*/ 81662 w 1041"/>
                <a:gd name="T77" fmla="*/ 248901 h 807"/>
                <a:gd name="T78" fmla="*/ 42776 w 1041"/>
                <a:gd name="T79" fmla="*/ 151674 h 80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41"/>
                <a:gd name="T121" fmla="*/ 0 h 807"/>
                <a:gd name="T122" fmla="*/ 1041 w 1041"/>
                <a:gd name="T123" fmla="*/ 807 h 80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41" h="807">
                  <a:moveTo>
                    <a:pt x="0" y="72"/>
                  </a:moveTo>
                  <a:lnTo>
                    <a:pt x="123" y="57"/>
                  </a:lnTo>
                  <a:lnTo>
                    <a:pt x="198" y="48"/>
                  </a:lnTo>
                  <a:lnTo>
                    <a:pt x="237" y="42"/>
                  </a:lnTo>
                  <a:lnTo>
                    <a:pt x="363" y="33"/>
                  </a:lnTo>
                  <a:lnTo>
                    <a:pt x="480" y="18"/>
                  </a:lnTo>
                  <a:lnTo>
                    <a:pt x="597" y="0"/>
                  </a:lnTo>
                  <a:lnTo>
                    <a:pt x="651" y="0"/>
                  </a:lnTo>
                  <a:lnTo>
                    <a:pt x="669" y="48"/>
                  </a:lnTo>
                  <a:lnTo>
                    <a:pt x="666" y="96"/>
                  </a:lnTo>
                  <a:lnTo>
                    <a:pt x="678" y="120"/>
                  </a:lnTo>
                  <a:lnTo>
                    <a:pt x="678" y="153"/>
                  </a:lnTo>
                  <a:lnTo>
                    <a:pt x="687" y="183"/>
                  </a:lnTo>
                  <a:lnTo>
                    <a:pt x="732" y="192"/>
                  </a:lnTo>
                  <a:lnTo>
                    <a:pt x="765" y="210"/>
                  </a:lnTo>
                  <a:lnTo>
                    <a:pt x="786" y="237"/>
                  </a:lnTo>
                  <a:lnTo>
                    <a:pt x="798" y="267"/>
                  </a:lnTo>
                  <a:lnTo>
                    <a:pt x="801" y="300"/>
                  </a:lnTo>
                  <a:lnTo>
                    <a:pt x="840" y="315"/>
                  </a:lnTo>
                  <a:lnTo>
                    <a:pt x="864" y="318"/>
                  </a:lnTo>
                  <a:lnTo>
                    <a:pt x="927" y="348"/>
                  </a:lnTo>
                  <a:lnTo>
                    <a:pt x="933" y="402"/>
                  </a:lnTo>
                  <a:lnTo>
                    <a:pt x="927" y="432"/>
                  </a:lnTo>
                  <a:lnTo>
                    <a:pt x="900" y="462"/>
                  </a:lnTo>
                  <a:lnTo>
                    <a:pt x="963" y="480"/>
                  </a:lnTo>
                  <a:lnTo>
                    <a:pt x="951" y="519"/>
                  </a:lnTo>
                  <a:lnTo>
                    <a:pt x="969" y="546"/>
                  </a:lnTo>
                  <a:lnTo>
                    <a:pt x="1005" y="558"/>
                  </a:lnTo>
                  <a:lnTo>
                    <a:pt x="1041" y="579"/>
                  </a:lnTo>
                  <a:lnTo>
                    <a:pt x="999" y="597"/>
                  </a:lnTo>
                  <a:lnTo>
                    <a:pt x="942" y="576"/>
                  </a:lnTo>
                  <a:lnTo>
                    <a:pt x="912" y="570"/>
                  </a:lnTo>
                  <a:lnTo>
                    <a:pt x="876" y="555"/>
                  </a:lnTo>
                  <a:lnTo>
                    <a:pt x="852" y="549"/>
                  </a:lnTo>
                  <a:lnTo>
                    <a:pt x="834" y="537"/>
                  </a:lnTo>
                  <a:lnTo>
                    <a:pt x="807" y="552"/>
                  </a:lnTo>
                  <a:lnTo>
                    <a:pt x="786" y="546"/>
                  </a:lnTo>
                  <a:lnTo>
                    <a:pt x="777" y="567"/>
                  </a:lnTo>
                  <a:lnTo>
                    <a:pt x="738" y="588"/>
                  </a:lnTo>
                  <a:lnTo>
                    <a:pt x="720" y="618"/>
                  </a:lnTo>
                  <a:lnTo>
                    <a:pt x="720" y="657"/>
                  </a:lnTo>
                  <a:lnTo>
                    <a:pt x="735" y="696"/>
                  </a:lnTo>
                  <a:lnTo>
                    <a:pt x="747" y="723"/>
                  </a:lnTo>
                  <a:lnTo>
                    <a:pt x="723" y="720"/>
                  </a:lnTo>
                  <a:lnTo>
                    <a:pt x="696" y="699"/>
                  </a:lnTo>
                  <a:lnTo>
                    <a:pt x="657" y="708"/>
                  </a:lnTo>
                  <a:lnTo>
                    <a:pt x="633" y="693"/>
                  </a:lnTo>
                  <a:lnTo>
                    <a:pt x="606" y="684"/>
                  </a:lnTo>
                  <a:lnTo>
                    <a:pt x="564" y="675"/>
                  </a:lnTo>
                  <a:lnTo>
                    <a:pt x="543" y="675"/>
                  </a:lnTo>
                  <a:lnTo>
                    <a:pt x="516" y="678"/>
                  </a:lnTo>
                  <a:lnTo>
                    <a:pt x="489" y="669"/>
                  </a:lnTo>
                  <a:lnTo>
                    <a:pt x="462" y="681"/>
                  </a:lnTo>
                  <a:lnTo>
                    <a:pt x="423" y="687"/>
                  </a:lnTo>
                  <a:lnTo>
                    <a:pt x="402" y="699"/>
                  </a:lnTo>
                  <a:lnTo>
                    <a:pt x="369" y="732"/>
                  </a:lnTo>
                  <a:lnTo>
                    <a:pt x="375" y="759"/>
                  </a:lnTo>
                  <a:lnTo>
                    <a:pt x="360" y="780"/>
                  </a:lnTo>
                  <a:lnTo>
                    <a:pt x="369" y="807"/>
                  </a:lnTo>
                  <a:lnTo>
                    <a:pt x="339" y="774"/>
                  </a:lnTo>
                  <a:lnTo>
                    <a:pt x="312" y="753"/>
                  </a:lnTo>
                  <a:lnTo>
                    <a:pt x="291" y="738"/>
                  </a:lnTo>
                  <a:lnTo>
                    <a:pt x="246" y="720"/>
                  </a:lnTo>
                  <a:lnTo>
                    <a:pt x="249" y="684"/>
                  </a:lnTo>
                  <a:lnTo>
                    <a:pt x="231" y="657"/>
                  </a:lnTo>
                  <a:lnTo>
                    <a:pt x="204" y="630"/>
                  </a:lnTo>
                  <a:lnTo>
                    <a:pt x="177" y="621"/>
                  </a:lnTo>
                  <a:lnTo>
                    <a:pt x="153" y="621"/>
                  </a:lnTo>
                  <a:lnTo>
                    <a:pt x="120" y="585"/>
                  </a:lnTo>
                  <a:lnTo>
                    <a:pt x="135" y="540"/>
                  </a:lnTo>
                  <a:lnTo>
                    <a:pt x="144" y="507"/>
                  </a:lnTo>
                  <a:lnTo>
                    <a:pt x="144" y="471"/>
                  </a:lnTo>
                  <a:lnTo>
                    <a:pt x="156" y="435"/>
                  </a:lnTo>
                  <a:lnTo>
                    <a:pt x="144" y="372"/>
                  </a:lnTo>
                  <a:lnTo>
                    <a:pt x="123" y="300"/>
                  </a:lnTo>
                  <a:lnTo>
                    <a:pt x="99" y="276"/>
                  </a:lnTo>
                  <a:lnTo>
                    <a:pt x="84" y="237"/>
                  </a:lnTo>
                  <a:lnTo>
                    <a:pt x="63" y="192"/>
                  </a:lnTo>
                  <a:lnTo>
                    <a:pt x="48" y="150"/>
                  </a:lnTo>
                  <a:lnTo>
                    <a:pt x="33" y="117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00B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Полилиния 24"/>
            <p:cNvSpPr/>
            <p:nvPr/>
          </p:nvSpPr>
          <p:spPr>
            <a:xfrm>
              <a:off x="679707" y="4669993"/>
              <a:ext cx="764819" cy="919077"/>
            </a:xfrm>
            <a:custGeom>
              <a:avLst/>
              <a:gdLst>
                <a:gd name="connsiteX0" fmla="*/ 843890 w 1242937"/>
                <a:gd name="connsiteY0" fmla="*/ 3662 h 1221643"/>
                <a:gd name="connsiteX1" fmla="*/ 843890 w 1242937"/>
                <a:gd name="connsiteY1" fmla="*/ 3662 h 1221643"/>
                <a:gd name="connsiteX2" fmla="*/ 938988 w 1242937"/>
                <a:gd name="connsiteY2" fmla="*/ 3662 h 1221643"/>
                <a:gd name="connsiteX3" fmla="*/ 960933 w 1242937"/>
                <a:gd name="connsiteY3" fmla="*/ 10977 h 1221643"/>
                <a:gd name="connsiteX4" fmla="*/ 986536 w 1242937"/>
                <a:gd name="connsiteY4" fmla="*/ 18293 h 1221643"/>
                <a:gd name="connsiteX5" fmla="*/ 1004824 w 1242937"/>
                <a:gd name="connsiteY5" fmla="*/ 29265 h 1221643"/>
                <a:gd name="connsiteX6" fmla="*/ 1012140 w 1242937"/>
                <a:gd name="connsiteY6" fmla="*/ 36581 h 1221643"/>
                <a:gd name="connsiteX7" fmla="*/ 1034085 w 1242937"/>
                <a:gd name="connsiteY7" fmla="*/ 43896 h 1221643"/>
                <a:gd name="connsiteX8" fmla="*/ 1045058 w 1242937"/>
                <a:gd name="connsiteY8" fmla="*/ 47553 h 1221643"/>
                <a:gd name="connsiteX9" fmla="*/ 1063346 w 1242937"/>
                <a:gd name="connsiteY9" fmla="*/ 62184 h 1221643"/>
                <a:gd name="connsiteX10" fmla="*/ 1074319 w 1242937"/>
                <a:gd name="connsiteY10" fmla="*/ 65841 h 1221643"/>
                <a:gd name="connsiteX11" fmla="*/ 1081634 w 1242937"/>
                <a:gd name="connsiteY11" fmla="*/ 73157 h 1221643"/>
                <a:gd name="connsiteX12" fmla="*/ 1092607 w 1242937"/>
                <a:gd name="connsiteY12" fmla="*/ 80472 h 1221643"/>
                <a:gd name="connsiteX13" fmla="*/ 1107237 w 1242937"/>
                <a:gd name="connsiteY13" fmla="*/ 102417 h 1221643"/>
                <a:gd name="connsiteX14" fmla="*/ 1110895 w 1242937"/>
                <a:gd name="connsiteY14" fmla="*/ 113390 h 1221643"/>
                <a:gd name="connsiteX15" fmla="*/ 1121868 w 1242937"/>
                <a:gd name="connsiteY15" fmla="*/ 124363 h 1221643"/>
                <a:gd name="connsiteX16" fmla="*/ 1129183 w 1242937"/>
                <a:gd name="connsiteY16" fmla="*/ 149966 h 1221643"/>
                <a:gd name="connsiteX17" fmla="*/ 1136498 w 1242937"/>
                <a:gd name="connsiteY17" fmla="*/ 160939 h 1221643"/>
                <a:gd name="connsiteX18" fmla="*/ 1143813 w 1242937"/>
                <a:gd name="connsiteY18" fmla="*/ 182885 h 1221643"/>
                <a:gd name="connsiteX19" fmla="*/ 1147471 w 1242937"/>
                <a:gd name="connsiteY19" fmla="*/ 193857 h 1221643"/>
                <a:gd name="connsiteX20" fmla="*/ 1151128 w 1242937"/>
                <a:gd name="connsiteY20" fmla="*/ 204830 h 1221643"/>
                <a:gd name="connsiteX21" fmla="*/ 1165759 w 1242937"/>
                <a:gd name="connsiteY21" fmla="*/ 215803 h 1221643"/>
                <a:gd name="connsiteX22" fmla="*/ 1187704 w 1242937"/>
                <a:gd name="connsiteY22" fmla="*/ 237749 h 1221643"/>
                <a:gd name="connsiteX23" fmla="*/ 1195020 w 1242937"/>
                <a:gd name="connsiteY23" fmla="*/ 248721 h 1221643"/>
                <a:gd name="connsiteX24" fmla="*/ 1205992 w 1242937"/>
                <a:gd name="connsiteY24" fmla="*/ 259694 h 1221643"/>
                <a:gd name="connsiteX25" fmla="*/ 1216965 w 1242937"/>
                <a:gd name="connsiteY25" fmla="*/ 281640 h 1221643"/>
                <a:gd name="connsiteX26" fmla="*/ 1231596 w 1242937"/>
                <a:gd name="connsiteY26" fmla="*/ 303585 h 1221643"/>
                <a:gd name="connsiteX27" fmla="*/ 1235253 w 1242937"/>
                <a:gd name="connsiteY27" fmla="*/ 314558 h 1221643"/>
                <a:gd name="connsiteX28" fmla="*/ 1242568 w 1242937"/>
                <a:gd name="connsiteY28" fmla="*/ 325531 h 1221643"/>
                <a:gd name="connsiteX29" fmla="*/ 1238911 w 1242937"/>
                <a:gd name="connsiteY29" fmla="*/ 438917 h 1221643"/>
                <a:gd name="connsiteX30" fmla="*/ 1231596 w 1242937"/>
                <a:gd name="connsiteY30" fmla="*/ 449889 h 1221643"/>
                <a:gd name="connsiteX31" fmla="*/ 1216965 w 1242937"/>
                <a:gd name="connsiteY31" fmla="*/ 482808 h 1221643"/>
                <a:gd name="connsiteX32" fmla="*/ 1209650 w 1242937"/>
                <a:gd name="connsiteY32" fmla="*/ 504753 h 1221643"/>
                <a:gd name="connsiteX33" fmla="*/ 1198677 w 1242937"/>
                <a:gd name="connsiteY33" fmla="*/ 526699 h 1221643"/>
                <a:gd name="connsiteX34" fmla="*/ 1191362 w 1242937"/>
                <a:gd name="connsiteY34" fmla="*/ 541329 h 1221643"/>
                <a:gd name="connsiteX35" fmla="*/ 1184047 w 1242937"/>
                <a:gd name="connsiteY35" fmla="*/ 563275 h 1221643"/>
                <a:gd name="connsiteX36" fmla="*/ 1180389 w 1242937"/>
                <a:gd name="connsiteY36" fmla="*/ 588878 h 1221643"/>
                <a:gd name="connsiteX37" fmla="*/ 1187704 w 1242937"/>
                <a:gd name="connsiteY37" fmla="*/ 662030 h 1221643"/>
                <a:gd name="connsiteX38" fmla="*/ 1198677 w 1242937"/>
                <a:gd name="connsiteY38" fmla="*/ 702264 h 1221643"/>
                <a:gd name="connsiteX39" fmla="*/ 1209650 w 1242937"/>
                <a:gd name="connsiteY39" fmla="*/ 709579 h 1221643"/>
                <a:gd name="connsiteX40" fmla="*/ 1220623 w 1242937"/>
                <a:gd name="connsiteY40" fmla="*/ 764443 h 1221643"/>
                <a:gd name="connsiteX41" fmla="*/ 1231596 w 1242937"/>
                <a:gd name="connsiteY41" fmla="*/ 779073 h 1221643"/>
                <a:gd name="connsiteX42" fmla="*/ 1235253 w 1242937"/>
                <a:gd name="connsiteY42" fmla="*/ 866856 h 1221643"/>
                <a:gd name="connsiteX43" fmla="*/ 1231596 w 1242937"/>
                <a:gd name="connsiteY43" fmla="*/ 877829 h 1221643"/>
                <a:gd name="connsiteX44" fmla="*/ 1224280 w 1242937"/>
                <a:gd name="connsiteY44" fmla="*/ 888801 h 1221643"/>
                <a:gd name="connsiteX45" fmla="*/ 1216965 w 1242937"/>
                <a:gd name="connsiteY45" fmla="*/ 918062 h 1221643"/>
                <a:gd name="connsiteX46" fmla="*/ 1209650 w 1242937"/>
                <a:gd name="connsiteY46" fmla="*/ 929035 h 1221643"/>
                <a:gd name="connsiteX47" fmla="*/ 1202335 w 1242937"/>
                <a:gd name="connsiteY47" fmla="*/ 943665 h 1221643"/>
                <a:gd name="connsiteX48" fmla="*/ 1191362 w 1242937"/>
                <a:gd name="connsiteY48" fmla="*/ 954638 h 1221643"/>
                <a:gd name="connsiteX49" fmla="*/ 1184047 w 1242937"/>
                <a:gd name="connsiteY49" fmla="*/ 976584 h 1221643"/>
                <a:gd name="connsiteX50" fmla="*/ 1180389 w 1242937"/>
                <a:gd name="connsiteY50" fmla="*/ 987557 h 1221643"/>
                <a:gd name="connsiteX51" fmla="*/ 1176732 w 1242937"/>
                <a:gd name="connsiteY51" fmla="*/ 1009502 h 1221643"/>
                <a:gd name="connsiteX52" fmla="*/ 1165759 w 1242937"/>
                <a:gd name="connsiteY52" fmla="*/ 1031448 h 1221643"/>
                <a:gd name="connsiteX53" fmla="*/ 1158444 w 1242937"/>
                <a:gd name="connsiteY53" fmla="*/ 1064366 h 1221643"/>
                <a:gd name="connsiteX54" fmla="*/ 1151128 w 1242937"/>
                <a:gd name="connsiteY54" fmla="*/ 1181409 h 1221643"/>
                <a:gd name="connsiteX55" fmla="*/ 1143813 w 1242937"/>
                <a:gd name="connsiteY55" fmla="*/ 1192382 h 1221643"/>
                <a:gd name="connsiteX56" fmla="*/ 1132840 w 1242937"/>
                <a:gd name="connsiteY56" fmla="*/ 1210670 h 1221643"/>
                <a:gd name="connsiteX57" fmla="*/ 1107237 w 1242937"/>
                <a:gd name="connsiteY57" fmla="*/ 1221643 h 1221643"/>
                <a:gd name="connsiteX58" fmla="*/ 1041400 w 1242937"/>
                <a:gd name="connsiteY58" fmla="*/ 1217985 h 1221643"/>
                <a:gd name="connsiteX59" fmla="*/ 1030428 w 1242937"/>
                <a:gd name="connsiteY59" fmla="*/ 1214328 h 1221643"/>
                <a:gd name="connsiteX60" fmla="*/ 1015797 w 1242937"/>
                <a:gd name="connsiteY60" fmla="*/ 1210670 h 1221643"/>
                <a:gd name="connsiteX61" fmla="*/ 957276 w 1242937"/>
                <a:gd name="connsiteY61" fmla="*/ 1207013 h 1221643"/>
                <a:gd name="connsiteX62" fmla="*/ 887781 w 1242937"/>
                <a:gd name="connsiteY62" fmla="*/ 1196040 h 1221643"/>
                <a:gd name="connsiteX63" fmla="*/ 876808 w 1242937"/>
                <a:gd name="connsiteY63" fmla="*/ 1188725 h 1221643"/>
                <a:gd name="connsiteX64" fmla="*/ 851205 w 1242937"/>
                <a:gd name="connsiteY64" fmla="*/ 1181409 h 1221643"/>
                <a:gd name="connsiteX65" fmla="*/ 814629 w 1242937"/>
                <a:gd name="connsiteY65" fmla="*/ 1163121 h 1221643"/>
                <a:gd name="connsiteX66" fmla="*/ 803656 w 1242937"/>
                <a:gd name="connsiteY66" fmla="*/ 1155806 h 1221643"/>
                <a:gd name="connsiteX67" fmla="*/ 770738 w 1242937"/>
                <a:gd name="connsiteY67" fmla="*/ 1141176 h 1221643"/>
                <a:gd name="connsiteX68" fmla="*/ 745135 w 1242937"/>
                <a:gd name="connsiteY68" fmla="*/ 1137518 h 1221643"/>
                <a:gd name="connsiteX69" fmla="*/ 726847 w 1242937"/>
                <a:gd name="connsiteY69" fmla="*/ 1133861 h 1221643"/>
                <a:gd name="connsiteX70" fmla="*/ 712216 w 1242937"/>
                <a:gd name="connsiteY70" fmla="*/ 1130203 h 1221643"/>
                <a:gd name="connsiteX71" fmla="*/ 686613 w 1242937"/>
                <a:gd name="connsiteY71" fmla="*/ 1126545 h 1221643"/>
                <a:gd name="connsiteX72" fmla="*/ 470815 w 1242937"/>
                <a:gd name="connsiteY72" fmla="*/ 1122888 h 1221643"/>
                <a:gd name="connsiteX73" fmla="*/ 459842 w 1242937"/>
                <a:gd name="connsiteY73" fmla="*/ 1126545 h 1221643"/>
                <a:gd name="connsiteX74" fmla="*/ 412293 w 1242937"/>
                <a:gd name="connsiteY74" fmla="*/ 1130203 h 1221643"/>
                <a:gd name="connsiteX75" fmla="*/ 394005 w 1242937"/>
                <a:gd name="connsiteY75" fmla="*/ 1133861 h 1221643"/>
                <a:gd name="connsiteX76" fmla="*/ 379375 w 1242937"/>
                <a:gd name="connsiteY76" fmla="*/ 1141176 h 1221643"/>
                <a:gd name="connsiteX77" fmla="*/ 339141 w 1242937"/>
                <a:gd name="connsiteY77" fmla="*/ 1148491 h 1221643"/>
                <a:gd name="connsiteX78" fmla="*/ 269647 w 1242937"/>
                <a:gd name="connsiteY78" fmla="*/ 1144833 h 1221643"/>
                <a:gd name="connsiteX79" fmla="*/ 265989 w 1242937"/>
                <a:gd name="connsiteY79" fmla="*/ 1133861 h 1221643"/>
                <a:gd name="connsiteX80" fmla="*/ 262332 w 1242937"/>
                <a:gd name="connsiteY80" fmla="*/ 1115573 h 1221643"/>
                <a:gd name="connsiteX81" fmla="*/ 258674 w 1242937"/>
                <a:gd name="connsiteY81" fmla="*/ 1104600 h 1221643"/>
                <a:gd name="connsiteX82" fmla="*/ 247701 w 1242937"/>
                <a:gd name="connsiteY82" fmla="*/ 1075339 h 1221643"/>
                <a:gd name="connsiteX83" fmla="*/ 236728 w 1242937"/>
                <a:gd name="connsiteY83" fmla="*/ 1064366 h 1221643"/>
                <a:gd name="connsiteX84" fmla="*/ 178207 w 1242937"/>
                <a:gd name="connsiteY84" fmla="*/ 1053393 h 1221643"/>
                <a:gd name="connsiteX85" fmla="*/ 156261 w 1242937"/>
                <a:gd name="connsiteY85" fmla="*/ 1046078 h 1221643"/>
                <a:gd name="connsiteX86" fmla="*/ 134316 w 1242937"/>
                <a:gd name="connsiteY86" fmla="*/ 1027790 h 1221643"/>
                <a:gd name="connsiteX87" fmla="*/ 130658 w 1242937"/>
                <a:gd name="connsiteY87" fmla="*/ 1016817 h 1221643"/>
                <a:gd name="connsiteX88" fmla="*/ 123343 w 1242937"/>
                <a:gd name="connsiteY88" fmla="*/ 1005845 h 1221643"/>
                <a:gd name="connsiteX89" fmla="*/ 119685 w 1242937"/>
                <a:gd name="connsiteY89" fmla="*/ 991214 h 1221643"/>
                <a:gd name="connsiteX90" fmla="*/ 108712 w 1242937"/>
                <a:gd name="connsiteY90" fmla="*/ 961953 h 1221643"/>
                <a:gd name="connsiteX91" fmla="*/ 101397 w 1242937"/>
                <a:gd name="connsiteY91" fmla="*/ 940008 h 1221643"/>
                <a:gd name="connsiteX92" fmla="*/ 90424 w 1242937"/>
                <a:gd name="connsiteY92" fmla="*/ 918062 h 1221643"/>
                <a:gd name="connsiteX93" fmla="*/ 94082 w 1242937"/>
                <a:gd name="connsiteY93" fmla="*/ 863198 h 1221643"/>
                <a:gd name="connsiteX94" fmla="*/ 105055 w 1242937"/>
                <a:gd name="connsiteY94" fmla="*/ 852225 h 1221643"/>
                <a:gd name="connsiteX95" fmla="*/ 127000 w 1242937"/>
                <a:gd name="connsiteY95" fmla="*/ 844910 h 1221643"/>
                <a:gd name="connsiteX96" fmla="*/ 127000 w 1242937"/>
                <a:gd name="connsiteY96" fmla="*/ 804677 h 1221643"/>
                <a:gd name="connsiteX97" fmla="*/ 123343 w 1242937"/>
                <a:gd name="connsiteY97" fmla="*/ 764443 h 1221643"/>
                <a:gd name="connsiteX98" fmla="*/ 108712 w 1242937"/>
                <a:gd name="connsiteY98" fmla="*/ 727867 h 1221643"/>
                <a:gd name="connsiteX99" fmla="*/ 105055 w 1242937"/>
                <a:gd name="connsiteY99" fmla="*/ 716894 h 1221643"/>
                <a:gd name="connsiteX100" fmla="*/ 101397 w 1242937"/>
                <a:gd name="connsiteY100" fmla="*/ 698606 h 1221643"/>
                <a:gd name="connsiteX101" fmla="*/ 90424 w 1242937"/>
                <a:gd name="connsiteY101" fmla="*/ 687633 h 1221643"/>
                <a:gd name="connsiteX102" fmla="*/ 79452 w 1242937"/>
                <a:gd name="connsiteY102" fmla="*/ 673003 h 1221643"/>
                <a:gd name="connsiteX103" fmla="*/ 50191 w 1242937"/>
                <a:gd name="connsiteY103" fmla="*/ 647400 h 1221643"/>
                <a:gd name="connsiteX104" fmla="*/ 39218 w 1242937"/>
                <a:gd name="connsiteY104" fmla="*/ 643742 h 1221643"/>
                <a:gd name="connsiteX105" fmla="*/ 17272 w 1242937"/>
                <a:gd name="connsiteY105" fmla="*/ 629112 h 1221643"/>
                <a:gd name="connsiteX106" fmla="*/ 6300 w 1242937"/>
                <a:gd name="connsiteY106" fmla="*/ 618139 h 1221643"/>
                <a:gd name="connsiteX107" fmla="*/ 6300 w 1242937"/>
                <a:gd name="connsiteY107" fmla="*/ 559617 h 1221643"/>
                <a:gd name="connsiteX108" fmla="*/ 28245 w 1242937"/>
                <a:gd name="connsiteY108" fmla="*/ 548645 h 1221643"/>
                <a:gd name="connsiteX109" fmla="*/ 79452 w 1242937"/>
                <a:gd name="connsiteY109" fmla="*/ 555960 h 1221643"/>
                <a:gd name="connsiteX110" fmla="*/ 101397 w 1242937"/>
                <a:gd name="connsiteY110" fmla="*/ 563275 h 1221643"/>
                <a:gd name="connsiteX111" fmla="*/ 123343 w 1242937"/>
                <a:gd name="connsiteY111" fmla="*/ 577905 h 1221643"/>
                <a:gd name="connsiteX112" fmla="*/ 145288 w 1242937"/>
                <a:gd name="connsiteY112" fmla="*/ 585221 h 1221643"/>
                <a:gd name="connsiteX113" fmla="*/ 152604 w 1242937"/>
                <a:gd name="connsiteY113" fmla="*/ 592536 h 1221643"/>
                <a:gd name="connsiteX114" fmla="*/ 163576 w 1242937"/>
                <a:gd name="connsiteY114" fmla="*/ 599851 h 1221643"/>
                <a:gd name="connsiteX115" fmla="*/ 170892 w 1242937"/>
                <a:gd name="connsiteY115" fmla="*/ 610824 h 1221643"/>
                <a:gd name="connsiteX116" fmla="*/ 181864 w 1242937"/>
                <a:gd name="connsiteY116" fmla="*/ 618139 h 1221643"/>
                <a:gd name="connsiteX117" fmla="*/ 200152 w 1242937"/>
                <a:gd name="connsiteY117" fmla="*/ 632769 h 1221643"/>
                <a:gd name="connsiteX118" fmla="*/ 229413 w 1242937"/>
                <a:gd name="connsiteY118" fmla="*/ 636427 h 1221643"/>
                <a:gd name="connsiteX119" fmla="*/ 255016 w 1242937"/>
                <a:gd name="connsiteY119" fmla="*/ 643742 h 1221643"/>
                <a:gd name="connsiteX120" fmla="*/ 284277 w 1242937"/>
                <a:gd name="connsiteY120" fmla="*/ 651057 h 1221643"/>
                <a:gd name="connsiteX121" fmla="*/ 302565 w 1242937"/>
                <a:gd name="connsiteY121" fmla="*/ 647400 h 1221643"/>
                <a:gd name="connsiteX122" fmla="*/ 317196 w 1242937"/>
                <a:gd name="connsiteY122" fmla="*/ 625454 h 1221643"/>
                <a:gd name="connsiteX123" fmla="*/ 313538 w 1242937"/>
                <a:gd name="connsiteY123" fmla="*/ 614481 h 1221643"/>
                <a:gd name="connsiteX124" fmla="*/ 284277 w 1242937"/>
                <a:gd name="connsiteY124" fmla="*/ 610824 h 1221643"/>
                <a:gd name="connsiteX125" fmla="*/ 258674 w 1242937"/>
                <a:gd name="connsiteY125" fmla="*/ 603509 h 1221643"/>
                <a:gd name="connsiteX126" fmla="*/ 240386 w 1242937"/>
                <a:gd name="connsiteY126" fmla="*/ 599851 h 1221643"/>
                <a:gd name="connsiteX127" fmla="*/ 236728 w 1242937"/>
                <a:gd name="connsiteY127" fmla="*/ 588878 h 1221643"/>
                <a:gd name="connsiteX128" fmla="*/ 247701 w 1242937"/>
                <a:gd name="connsiteY128" fmla="*/ 544987 h 1221643"/>
                <a:gd name="connsiteX129" fmla="*/ 240386 w 1242937"/>
                <a:gd name="connsiteY129" fmla="*/ 501096 h 1221643"/>
                <a:gd name="connsiteX130" fmla="*/ 218440 w 1242937"/>
                <a:gd name="connsiteY130" fmla="*/ 497438 h 1221643"/>
                <a:gd name="connsiteX131" fmla="*/ 214783 w 1242937"/>
                <a:gd name="connsiteY131" fmla="*/ 482808 h 1221643"/>
                <a:gd name="connsiteX132" fmla="*/ 276962 w 1242937"/>
                <a:gd name="connsiteY132" fmla="*/ 475493 h 1221643"/>
                <a:gd name="connsiteX133" fmla="*/ 280620 w 1242937"/>
                <a:gd name="connsiteY133" fmla="*/ 446232 h 1221643"/>
                <a:gd name="connsiteX134" fmla="*/ 284277 w 1242937"/>
                <a:gd name="connsiteY134" fmla="*/ 427944 h 1221643"/>
                <a:gd name="connsiteX135" fmla="*/ 306223 w 1242937"/>
                <a:gd name="connsiteY135" fmla="*/ 409656 h 1221643"/>
                <a:gd name="connsiteX136" fmla="*/ 313538 w 1242937"/>
                <a:gd name="connsiteY136" fmla="*/ 398683 h 1221643"/>
                <a:gd name="connsiteX137" fmla="*/ 324511 w 1242937"/>
                <a:gd name="connsiteY137" fmla="*/ 395025 h 1221643"/>
                <a:gd name="connsiteX138" fmla="*/ 353772 w 1242937"/>
                <a:gd name="connsiteY138" fmla="*/ 391368 h 1221643"/>
                <a:gd name="connsiteX139" fmla="*/ 404978 w 1242937"/>
                <a:gd name="connsiteY139" fmla="*/ 395025 h 1221643"/>
                <a:gd name="connsiteX140" fmla="*/ 415951 w 1242937"/>
                <a:gd name="connsiteY140" fmla="*/ 398683 h 1221643"/>
                <a:gd name="connsiteX141" fmla="*/ 437896 w 1242937"/>
                <a:gd name="connsiteY141" fmla="*/ 413313 h 1221643"/>
                <a:gd name="connsiteX142" fmla="*/ 518364 w 1242937"/>
                <a:gd name="connsiteY142" fmla="*/ 416971 h 1221643"/>
                <a:gd name="connsiteX143" fmla="*/ 536652 w 1242937"/>
                <a:gd name="connsiteY143" fmla="*/ 420629 h 1221643"/>
                <a:gd name="connsiteX144" fmla="*/ 547624 w 1242937"/>
                <a:gd name="connsiteY144" fmla="*/ 427944 h 1221643"/>
                <a:gd name="connsiteX145" fmla="*/ 558597 w 1242937"/>
                <a:gd name="connsiteY145" fmla="*/ 431601 h 1221643"/>
                <a:gd name="connsiteX146" fmla="*/ 569570 w 1242937"/>
                <a:gd name="connsiteY146" fmla="*/ 442574 h 1221643"/>
                <a:gd name="connsiteX147" fmla="*/ 587858 w 1242937"/>
                <a:gd name="connsiteY147" fmla="*/ 446232 h 1221643"/>
                <a:gd name="connsiteX148" fmla="*/ 609804 w 1242937"/>
                <a:gd name="connsiteY148" fmla="*/ 453547 h 1221643"/>
                <a:gd name="connsiteX149" fmla="*/ 620776 w 1242937"/>
                <a:gd name="connsiteY149" fmla="*/ 457205 h 1221643"/>
                <a:gd name="connsiteX150" fmla="*/ 631749 w 1242937"/>
                <a:gd name="connsiteY150" fmla="*/ 460862 h 1221643"/>
                <a:gd name="connsiteX151" fmla="*/ 642722 w 1242937"/>
                <a:gd name="connsiteY151" fmla="*/ 468177 h 1221643"/>
                <a:gd name="connsiteX152" fmla="*/ 653695 w 1242937"/>
                <a:gd name="connsiteY152" fmla="*/ 471835 h 1221643"/>
                <a:gd name="connsiteX153" fmla="*/ 664668 w 1242937"/>
                <a:gd name="connsiteY153" fmla="*/ 482808 h 1221643"/>
                <a:gd name="connsiteX154" fmla="*/ 679298 w 1242937"/>
                <a:gd name="connsiteY154" fmla="*/ 486465 h 1221643"/>
                <a:gd name="connsiteX155" fmla="*/ 701244 w 1242937"/>
                <a:gd name="connsiteY155" fmla="*/ 493781 h 1221643"/>
                <a:gd name="connsiteX156" fmla="*/ 712216 w 1242937"/>
                <a:gd name="connsiteY156" fmla="*/ 497438 h 1221643"/>
                <a:gd name="connsiteX157" fmla="*/ 730504 w 1242937"/>
                <a:gd name="connsiteY157" fmla="*/ 504753 h 1221643"/>
                <a:gd name="connsiteX158" fmla="*/ 752450 w 1242937"/>
                <a:gd name="connsiteY158" fmla="*/ 508411 h 1221643"/>
                <a:gd name="connsiteX159" fmla="*/ 763423 w 1242937"/>
                <a:gd name="connsiteY159" fmla="*/ 512069 h 1221643"/>
                <a:gd name="connsiteX160" fmla="*/ 810972 w 1242937"/>
                <a:gd name="connsiteY160" fmla="*/ 508411 h 1221643"/>
                <a:gd name="connsiteX161" fmla="*/ 821944 w 1242937"/>
                <a:gd name="connsiteY161" fmla="*/ 501096 h 1221643"/>
                <a:gd name="connsiteX162" fmla="*/ 840232 w 1242937"/>
                <a:gd name="connsiteY162" fmla="*/ 497438 h 1221643"/>
                <a:gd name="connsiteX163" fmla="*/ 847548 w 1242937"/>
                <a:gd name="connsiteY163" fmla="*/ 490123 h 1221643"/>
                <a:gd name="connsiteX164" fmla="*/ 836575 w 1242937"/>
                <a:gd name="connsiteY164" fmla="*/ 482808 h 1221643"/>
                <a:gd name="connsiteX165" fmla="*/ 814629 w 1242937"/>
                <a:gd name="connsiteY165" fmla="*/ 471835 h 1221643"/>
                <a:gd name="connsiteX166" fmla="*/ 799999 w 1242937"/>
                <a:gd name="connsiteY166" fmla="*/ 449889 h 1221643"/>
                <a:gd name="connsiteX167" fmla="*/ 778053 w 1242937"/>
                <a:gd name="connsiteY167" fmla="*/ 435259 h 1221643"/>
                <a:gd name="connsiteX168" fmla="*/ 770738 w 1242937"/>
                <a:gd name="connsiteY168" fmla="*/ 424286 h 1221643"/>
                <a:gd name="connsiteX169" fmla="*/ 759765 w 1242937"/>
                <a:gd name="connsiteY169" fmla="*/ 420629 h 1221643"/>
                <a:gd name="connsiteX170" fmla="*/ 756108 w 1242937"/>
                <a:gd name="connsiteY170" fmla="*/ 409656 h 1221643"/>
                <a:gd name="connsiteX171" fmla="*/ 741477 w 1242937"/>
                <a:gd name="connsiteY171" fmla="*/ 395025 h 1221643"/>
                <a:gd name="connsiteX172" fmla="*/ 723189 w 1242937"/>
                <a:gd name="connsiteY172" fmla="*/ 362107 h 1221643"/>
                <a:gd name="connsiteX173" fmla="*/ 745135 w 1242937"/>
                <a:gd name="connsiteY173" fmla="*/ 248721 h 1221643"/>
                <a:gd name="connsiteX174" fmla="*/ 756108 w 1242937"/>
                <a:gd name="connsiteY174" fmla="*/ 237749 h 1221643"/>
                <a:gd name="connsiteX175" fmla="*/ 759765 w 1242937"/>
                <a:gd name="connsiteY175" fmla="*/ 226776 h 1221643"/>
                <a:gd name="connsiteX176" fmla="*/ 770738 w 1242937"/>
                <a:gd name="connsiteY176" fmla="*/ 219461 h 1221643"/>
                <a:gd name="connsiteX177" fmla="*/ 778053 w 1242937"/>
                <a:gd name="connsiteY177" fmla="*/ 212145 h 1221643"/>
                <a:gd name="connsiteX178" fmla="*/ 781711 w 1242937"/>
                <a:gd name="connsiteY178" fmla="*/ 201173 h 1221643"/>
                <a:gd name="connsiteX179" fmla="*/ 799999 w 1242937"/>
                <a:gd name="connsiteY179" fmla="*/ 182885 h 1221643"/>
                <a:gd name="connsiteX180" fmla="*/ 799999 w 1242937"/>
                <a:gd name="connsiteY180" fmla="*/ 124363 h 1221643"/>
                <a:gd name="connsiteX181" fmla="*/ 803656 w 1242937"/>
                <a:gd name="connsiteY181" fmla="*/ 76814 h 1221643"/>
                <a:gd name="connsiteX182" fmla="*/ 810972 w 1242937"/>
                <a:gd name="connsiteY182" fmla="*/ 65841 h 1221643"/>
                <a:gd name="connsiteX183" fmla="*/ 814629 w 1242937"/>
                <a:gd name="connsiteY183" fmla="*/ 51211 h 1221643"/>
                <a:gd name="connsiteX184" fmla="*/ 807314 w 1242937"/>
                <a:gd name="connsiteY184" fmla="*/ 29265 h 1221643"/>
                <a:gd name="connsiteX185" fmla="*/ 810972 w 1242937"/>
                <a:gd name="connsiteY185" fmla="*/ 10977 h 1221643"/>
                <a:gd name="connsiteX186" fmla="*/ 843890 w 1242937"/>
                <a:gd name="connsiteY186" fmla="*/ 3662 h 122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</a:cxnLst>
              <a:rect l="l" t="t" r="r" b="b"/>
              <a:pathLst>
                <a:path w="1242937" h="1221643">
                  <a:moveTo>
                    <a:pt x="843890" y="3662"/>
                  </a:moveTo>
                  <a:lnTo>
                    <a:pt x="843890" y="3662"/>
                  </a:lnTo>
                  <a:cubicBezTo>
                    <a:pt x="884174" y="977"/>
                    <a:pt x="901086" y="-3026"/>
                    <a:pt x="938988" y="3662"/>
                  </a:cubicBezTo>
                  <a:cubicBezTo>
                    <a:pt x="946581" y="5002"/>
                    <a:pt x="953453" y="9107"/>
                    <a:pt x="960933" y="10977"/>
                  </a:cubicBezTo>
                  <a:cubicBezTo>
                    <a:pt x="979304" y="15570"/>
                    <a:pt x="970795" y="13045"/>
                    <a:pt x="986536" y="18293"/>
                  </a:cubicBezTo>
                  <a:cubicBezTo>
                    <a:pt x="1005077" y="36831"/>
                    <a:pt x="981080" y="15018"/>
                    <a:pt x="1004824" y="29265"/>
                  </a:cubicBezTo>
                  <a:cubicBezTo>
                    <a:pt x="1007781" y="31039"/>
                    <a:pt x="1009055" y="35039"/>
                    <a:pt x="1012140" y="36581"/>
                  </a:cubicBezTo>
                  <a:cubicBezTo>
                    <a:pt x="1019037" y="40029"/>
                    <a:pt x="1026770" y="41458"/>
                    <a:pt x="1034085" y="43896"/>
                  </a:cubicBezTo>
                  <a:lnTo>
                    <a:pt x="1045058" y="47553"/>
                  </a:lnTo>
                  <a:cubicBezTo>
                    <a:pt x="1051862" y="54358"/>
                    <a:pt x="1054116" y="57570"/>
                    <a:pt x="1063346" y="62184"/>
                  </a:cubicBezTo>
                  <a:cubicBezTo>
                    <a:pt x="1066794" y="63908"/>
                    <a:pt x="1070661" y="64622"/>
                    <a:pt x="1074319" y="65841"/>
                  </a:cubicBezTo>
                  <a:cubicBezTo>
                    <a:pt x="1076757" y="68280"/>
                    <a:pt x="1078941" y="71003"/>
                    <a:pt x="1081634" y="73157"/>
                  </a:cubicBezTo>
                  <a:cubicBezTo>
                    <a:pt x="1085067" y="75903"/>
                    <a:pt x="1089712" y="77164"/>
                    <a:pt x="1092607" y="80472"/>
                  </a:cubicBezTo>
                  <a:cubicBezTo>
                    <a:pt x="1098396" y="87088"/>
                    <a:pt x="1102360" y="95102"/>
                    <a:pt x="1107237" y="102417"/>
                  </a:cubicBezTo>
                  <a:cubicBezTo>
                    <a:pt x="1109376" y="105625"/>
                    <a:pt x="1108756" y="110182"/>
                    <a:pt x="1110895" y="113390"/>
                  </a:cubicBezTo>
                  <a:cubicBezTo>
                    <a:pt x="1113764" y="117694"/>
                    <a:pt x="1118210" y="120705"/>
                    <a:pt x="1121868" y="124363"/>
                  </a:cubicBezTo>
                  <a:cubicBezTo>
                    <a:pt x="1123041" y="129056"/>
                    <a:pt x="1126558" y="144715"/>
                    <a:pt x="1129183" y="149966"/>
                  </a:cubicBezTo>
                  <a:cubicBezTo>
                    <a:pt x="1131149" y="153898"/>
                    <a:pt x="1134713" y="156922"/>
                    <a:pt x="1136498" y="160939"/>
                  </a:cubicBezTo>
                  <a:cubicBezTo>
                    <a:pt x="1139630" y="167985"/>
                    <a:pt x="1141374" y="175570"/>
                    <a:pt x="1143813" y="182885"/>
                  </a:cubicBezTo>
                  <a:lnTo>
                    <a:pt x="1147471" y="193857"/>
                  </a:lnTo>
                  <a:cubicBezTo>
                    <a:pt x="1148690" y="197515"/>
                    <a:pt x="1148044" y="202517"/>
                    <a:pt x="1151128" y="204830"/>
                  </a:cubicBezTo>
                  <a:lnTo>
                    <a:pt x="1165759" y="215803"/>
                  </a:lnTo>
                  <a:cubicBezTo>
                    <a:pt x="1182995" y="241658"/>
                    <a:pt x="1160489" y="210535"/>
                    <a:pt x="1187704" y="237749"/>
                  </a:cubicBezTo>
                  <a:cubicBezTo>
                    <a:pt x="1190812" y="240857"/>
                    <a:pt x="1192206" y="245344"/>
                    <a:pt x="1195020" y="248721"/>
                  </a:cubicBezTo>
                  <a:cubicBezTo>
                    <a:pt x="1198331" y="252695"/>
                    <a:pt x="1202335" y="256036"/>
                    <a:pt x="1205992" y="259694"/>
                  </a:cubicBezTo>
                  <a:cubicBezTo>
                    <a:pt x="1212699" y="279812"/>
                    <a:pt x="1205620" y="261787"/>
                    <a:pt x="1216965" y="281640"/>
                  </a:cubicBezTo>
                  <a:cubicBezTo>
                    <a:pt x="1228774" y="302305"/>
                    <a:pt x="1218558" y="290548"/>
                    <a:pt x="1231596" y="303585"/>
                  </a:cubicBezTo>
                  <a:cubicBezTo>
                    <a:pt x="1232815" y="307243"/>
                    <a:pt x="1233529" y="311110"/>
                    <a:pt x="1235253" y="314558"/>
                  </a:cubicBezTo>
                  <a:cubicBezTo>
                    <a:pt x="1237219" y="318490"/>
                    <a:pt x="1242439" y="321137"/>
                    <a:pt x="1242568" y="325531"/>
                  </a:cubicBezTo>
                  <a:cubicBezTo>
                    <a:pt x="1243680" y="363330"/>
                    <a:pt x="1242234" y="401248"/>
                    <a:pt x="1238911" y="438917"/>
                  </a:cubicBezTo>
                  <a:cubicBezTo>
                    <a:pt x="1238525" y="443296"/>
                    <a:pt x="1233381" y="445872"/>
                    <a:pt x="1231596" y="449889"/>
                  </a:cubicBezTo>
                  <a:cubicBezTo>
                    <a:pt x="1214183" y="489066"/>
                    <a:pt x="1233521" y="457973"/>
                    <a:pt x="1216965" y="482808"/>
                  </a:cubicBezTo>
                  <a:cubicBezTo>
                    <a:pt x="1214527" y="490123"/>
                    <a:pt x="1213927" y="498337"/>
                    <a:pt x="1209650" y="504753"/>
                  </a:cubicBezTo>
                  <a:cubicBezTo>
                    <a:pt x="1195593" y="525840"/>
                    <a:pt x="1207763" y="505499"/>
                    <a:pt x="1198677" y="526699"/>
                  </a:cubicBezTo>
                  <a:cubicBezTo>
                    <a:pt x="1196529" y="531710"/>
                    <a:pt x="1193387" y="536267"/>
                    <a:pt x="1191362" y="541329"/>
                  </a:cubicBezTo>
                  <a:cubicBezTo>
                    <a:pt x="1188498" y="548489"/>
                    <a:pt x="1184047" y="563275"/>
                    <a:pt x="1184047" y="563275"/>
                  </a:cubicBezTo>
                  <a:cubicBezTo>
                    <a:pt x="1182828" y="571809"/>
                    <a:pt x="1180389" y="580257"/>
                    <a:pt x="1180389" y="588878"/>
                  </a:cubicBezTo>
                  <a:cubicBezTo>
                    <a:pt x="1180389" y="646878"/>
                    <a:pt x="1181834" y="626809"/>
                    <a:pt x="1187704" y="662030"/>
                  </a:cubicBezTo>
                  <a:cubicBezTo>
                    <a:pt x="1190111" y="676473"/>
                    <a:pt x="1188786" y="690394"/>
                    <a:pt x="1198677" y="702264"/>
                  </a:cubicBezTo>
                  <a:cubicBezTo>
                    <a:pt x="1201491" y="705641"/>
                    <a:pt x="1205992" y="707141"/>
                    <a:pt x="1209650" y="709579"/>
                  </a:cubicBezTo>
                  <a:cubicBezTo>
                    <a:pt x="1210795" y="719886"/>
                    <a:pt x="1212167" y="753168"/>
                    <a:pt x="1220623" y="764443"/>
                  </a:cubicBezTo>
                  <a:lnTo>
                    <a:pt x="1231596" y="779073"/>
                  </a:lnTo>
                  <a:cubicBezTo>
                    <a:pt x="1239156" y="828217"/>
                    <a:pt x="1241876" y="820490"/>
                    <a:pt x="1235253" y="866856"/>
                  </a:cubicBezTo>
                  <a:cubicBezTo>
                    <a:pt x="1234708" y="870673"/>
                    <a:pt x="1233320" y="874381"/>
                    <a:pt x="1231596" y="877829"/>
                  </a:cubicBezTo>
                  <a:cubicBezTo>
                    <a:pt x="1229630" y="881761"/>
                    <a:pt x="1226719" y="885144"/>
                    <a:pt x="1224280" y="888801"/>
                  </a:cubicBezTo>
                  <a:cubicBezTo>
                    <a:pt x="1221842" y="898555"/>
                    <a:pt x="1222542" y="909697"/>
                    <a:pt x="1216965" y="918062"/>
                  </a:cubicBezTo>
                  <a:cubicBezTo>
                    <a:pt x="1214527" y="921720"/>
                    <a:pt x="1211831" y="925218"/>
                    <a:pt x="1209650" y="929035"/>
                  </a:cubicBezTo>
                  <a:cubicBezTo>
                    <a:pt x="1206945" y="933769"/>
                    <a:pt x="1205504" y="939228"/>
                    <a:pt x="1202335" y="943665"/>
                  </a:cubicBezTo>
                  <a:cubicBezTo>
                    <a:pt x="1199328" y="947874"/>
                    <a:pt x="1195020" y="950980"/>
                    <a:pt x="1191362" y="954638"/>
                  </a:cubicBezTo>
                  <a:lnTo>
                    <a:pt x="1184047" y="976584"/>
                  </a:lnTo>
                  <a:lnTo>
                    <a:pt x="1180389" y="987557"/>
                  </a:lnTo>
                  <a:cubicBezTo>
                    <a:pt x="1179170" y="994872"/>
                    <a:pt x="1179077" y="1002467"/>
                    <a:pt x="1176732" y="1009502"/>
                  </a:cubicBezTo>
                  <a:cubicBezTo>
                    <a:pt x="1163575" y="1048971"/>
                    <a:pt x="1174053" y="994127"/>
                    <a:pt x="1165759" y="1031448"/>
                  </a:cubicBezTo>
                  <a:cubicBezTo>
                    <a:pt x="1157176" y="1070071"/>
                    <a:pt x="1166676" y="1039664"/>
                    <a:pt x="1158444" y="1064366"/>
                  </a:cubicBezTo>
                  <a:cubicBezTo>
                    <a:pt x="1156005" y="1103380"/>
                    <a:pt x="1155567" y="1142571"/>
                    <a:pt x="1151128" y="1181409"/>
                  </a:cubicBezTo>
                  <a:cubicBezTo>
                    <a:pt x="1150629" y="1185776"/>
                    <a:pt x="1145779" y="1188450"/>
                    <a:pt x="1143813" y="1192382"/>
                  </a:cubicBezTo>
                  <a:cubicBezTo>
                    <a:pt x="1138310" y="1203389"/>
                    <a:pt x="1143558" y="1203525"/>
                    <a:pt x="1132840" y="1210670"/>
                  </a:cubicBezTo>
                  <a:cubicBezTo>
                    <a:pt x="1123801" y="1216696"/>
                    <a:pt x="1116990" y="1218392"/>
                    <a:pt x="1107237" y="1221643"/>
                  </a:cubicBezTo>
                  <a:cubicBezTo>
                    <a:pt x="1085291" y="1220424"/>
                    <a:pt x="1063281" y="1220069"/>
                    <a:pt x="1041400" y="1217985"/>
                  </a:cubicBezTo>
                  <a:cubicBezTo>
                    <a:pt x="1037562" y="1217620"/>
                    <a:pt x="1034135" y="1215387"/>
                    <a:pt x="1030428" y="1214328"/>
                  </a:cubicBezTo>
                  <a:cubicBezTo>
                    <a:pt x="1025594" y="1212947"/>
                    <a:pt x="1020799" y="1211170"/>
                    <a:pt x="1015797" y="1210670"/>
                  </a:cubicBezTo>
                  <a:cubicBezTo>
                    <a:pt x="996349" y="1208725"/>
                    <a:pt x="976783" y="1208232"/>
                    <a:pt x="957276" y="1207013"/>
                  </a:cubicBezTo>
                  <a:cubicBezTo>
                    <a:pt x="904880" y="1198280"/>
                    <a:pt x="928067" y="1201794"/>
                    <a:pt x="887781" y="1196040"/>
                  </a:cubicBezTo>
                  <a:cubicBezTo>
                    <a:pt x="884123" y="1193602"/>
                    <a:pt x="880740" y="1190691"/>
                    <a:pt x="876808" y="1188725"/>
                  </a:cubicBezTo>
                  <a:cubicBezTo>
                    <a:pt x="871558" y="1186100"/>
                    <a:pt x="855896" y="1182582"/>
                    <a:pt x="851205" y="1181409"/>
                  </a:cubicBezTo>
                  <a:cubicBezTo>
                    <a:pt x="800330" y="1150886"/>
                    <a:pt x="864414" y="1188015"/>
                    <a:pt x="814629" y="1163121"/>
                  </a:cubicBezTo>
                  <a:cubicBezTo>
                    <a:pt x="810697" y="1161155"/>
                    <a:pt x="807473" y="1157987"/>
                    <a:pt x="803656" y="1155806"/>
                  </a:cubicBezTo>
                  <a:cubicBezTo>
                    <a:pt x="796758" y="1151864"/>
                    <a:pt x="777706" y="1142918"/>
                    <a:pt x="770738" y="1141176"/>
                  </a:cubicBezTo>
                  <a:cubicBezTo>
                    <a:pt x="762374" y="1139085"/>
                    <a:pt x="753639" y="1138935"/>
                    <a:pt x="745135" y="1137518"/>
                  </a:cubicBezTo>
                  <a:cubicBezTo>
                    <a:pt x="739003" y="1136496"/>
                    <a:pt x="732916" y="1135210"/>
                    <a:pt x="726847" y="1133861"/>
                  </a:cubicBezTo>
                  <a:cubicBezTo>
                    <a:pt x="721940" y="1132771"/>
                    <a:pt x="717162" y="1131102"/>
                    <a:pt x="712216" y="1130203"/>
                  </a:cubicBezTo>
                  <a:cubicBezTo>
                    <a:pt x="703734" y="1128661"/>
                    <a:pt x="695147" y="1127764"/>
                    <a:pt x="686613" y="1126545"/>
                  </a:cubicBezTo>
                  <a:cubicBezTo>
                    <a:pt x="604453" y="1099158"/>
                    <a:pt x="663178" y="1116018"/>
                    <a:pt x="470815" y="1122888"/>
                  </a:cubicBezTo>
                  <a:cubicBezTo>
                    <a:pt x="466962" y="1123026"/>
                    <a:pt x="463668" y="1126067"/>
                    <a:pt x="459842" y="1126545"/>
                  </a:cubicBezTo>
                  <a:cubicBezTo>
                    <a:pt x="444068" y="1128517"/>
                    <a:pt x="428143" y="1128984"/>
                    <a:pt x="412293" y="1130203"/>
                  </a:cubicBezTo>
                  <a:cubicBezTo>
                    <a:pt x="406197" y="1131422"/>
                    <a:pt x="399903" y="1131895"/>
                    <a:pt x="394005" y="1133861"/>
                  </a:cubicBezTo>
                  <a:cubicBezTo>
                    <a:pt x="388833" y="1135585"/>
                    <a:pt x="384643" y="1139771"/>
                    <a:pt x="379375" y="1141176"/>
                  </a:cubicBezTo>
                  <a:cubicBezTo>
                    <a:pt x="366204" y="1144688"/>
                    <a:pt x="352552" y="1146053"/>
                    <a:pt x="339141" y="1148491"/>
                  </a:cubicBezTo>
                  <a:cubicBezTo>
                    <a:pt x="315976" y="1147272"/>
                    <a:pt x="292393" y="1149382"/>
                    <a:pt x="269647" y="1144833"/>
                  </a:cubicBezTo>
                  <a:cubicBezTo>
                    <a:pt x="265867" y="1144077"/>
                    <a:pt x="266924" y="1137601"/>
                    <a:pt x="265989" y="1133861"/>
                  </a:cubicBezTo>
                  <a:cubicBezTo>
                    <a:pt x="264481" y="1127830"/>
                    <a:pt x="263840" y="1121604"/>
                    <a:pt x="262332" y="1115573"/>
                  </a:cubicBezTo>
                  <a:cubicBezTo>
                    <a:pt x="261397" y="1111833"/>
                    <a:pt x="259733" y="1108307"/>
                    <a:pt x="258674" y="1104600"/>
                  </a:cubicBezTo>
                  <a:cubicBezTo>
                    <a:pt x="255027" y="1091837"/>
                    <a:pt x="255818" y="1086702"/>
                    <a:pt x="247701" y="1075339"/>
                  </a:cubicBezTo>
                  <a:cubicBezTo>
                    <a:pt x="244694" y="1071130"/>
                    <a:pt x="241250" y="1066878"/>
                    <a:pt x="236728" y="1064366"/>
                  </a:cubicBezTo>
                  <a:cubicBezTo>
                    <a:pt x="219535" y="1054814"/>
                    <a:pt x="196433" y="1055216"/>
                    <a:pt x="178207" y="1053393"/>
                  </a:cubicBezTo>
                  <a:cubicBezTo>
                    <a:pt x="170892" y="1050955"/>
                    <a:pt x="161714" y="1051531"/>
                    <a:pt x="156261" y="1046078"/>
                  </a:cubicBezTo>
                  <a:cubicBezTo>
                    <a:pt x="142180" y="1031997"/>
                    <a:pt x="149592" y="1037974"/>
                    <a:pt x="134316" y="1027790"/>
                  </a:cubicBezTo>
                  <a:cubicBezTo>
                    <a:pt x="133097" y="1024132"/>
                    <a:pt x="132382" y="1020265"/>
                    <a:pt x="130658" y="1016817"/>
                  </a:cubicBezTo>
                  <a:cubicBezTo>
                    <a:pt x="128692" y="1012885"/>
                    <a:pt x="125075" y="1009885"/>
                    <a:pt x="123343" y="1005845"/>
                  </a:cubicBezTo>
                  <a:cubicBezTo>
                    <a:pt x="121363" y="1001224"/>
                    <a:pt x="121066" y="996048"/>
                    <a:pt x="119685" y="991214"/>
                  </a:cubicBezTo>
                  <a:cubicBezTo>
                    <a:pt x="116057" y="978516"/>
                    <a:pt x="113875" y="976150"/>
                    <a:pt x="108712" y="961953"/>
                  </a:cubicBezTo>
                  <a:cubicBezTo>
                    <a:pt x="106077" y="954707"/>
                    <a:pt x="105674" y="946424"/>
                    <a:pt x="101397" y="940008"/>
                  </a:cubicBezTo>
                  <a:cubicBezTo>
                    <a:pt x="91943" y="925827"/>
                    <a:pt x="95472" y="933205"/>
                    <a:pt x="90424" y="918062"/>
                  </a:cubicBezTo>
                  <a:cubicBezTo>
                    <a:pt x="91643" y="899774"/>
                    <a:pt x="90106" y="881090"/>
                    <a:pt x="94082" y="863198"/>
                  </a:cubicBezTo>
                  <a:cubicBezTo>
                    <a:pt x="95204" y="858148"/>
                    <a:pt x="100533" y="854737"/>
                    <a:pt x="105055" y="852225"/>
                  </a:cubicBezTo>
                  <a:cubicBezTo>
                    <a:pt x="111795" y="848480"/>
                    <a:pt x="127000" y="844910"/>
                    <a:pt x="127000" y="844910"/>
                  </a:cubicBezTo>
                  <a:cubicBezTo>
                    <a:pt x="133961" y="824028"/>
                    <a:pt x="130640" y="839253"/>
                    <a:pt x="127000" y="804677"/>
                  </a:cubicBezTo>
                  <a:cubicBezTo>
                    <a:pt x="125590" y="791284"/>
                    <a:pt x="125683" y="777705"/>
                    <a:pt x="123343" y="764443"/>
                  </a:cubicBezTo>
                  <a:cubicBezTo>
                    <a:pt x="120012" y="745565"/>
                    <a:pt x="115441" y="743567"/>
                    <a:pt x="108712" y="727867"/>
                  </a:cubicBezTo>
                  <a:cubicBezTo>
                    <a:pt x="107193" y="724323"/>
                    <a:pt x="105990" y="720634"/>
                    <a:pt x="105055" y="716894"/>
                  </a:cubicBezTo>
                  <a:cubicBezTo>
                    <a:pt x="103547" y="710863"/>
                    <a:pt x="104177" y="704166"/>
                    <a:pt x="101397" y="698606"/>
                  </a:cubicBezTo>
                  <a:cubicBezTo>
                    <a:pt x="99084" y="693979"/>
                    <a:pt x="93790" y="691560"/>
                    <a:pt x="90424" y="687633"/>
                  </a:cubicBezTo>
                  <a:cubicBezTo>
                    <a:pt x="86457" y="683005"/>
                    <a:pt x="83502" y="677559"/>
                    <a:pt x="79452" y="673003"/>
                  </a:cubicBezTo>
                  <a:cubicBezTo>
                    <a:pt x="71823" y="664421"/>
                    <a:pt x="61317" y="652963"/>
                    <a:pt x="50191" y="647400"/>
                  </a:cubicBezTo>
                  <a:cubicBezTo>
                    <a:pt x="46742" y="645676"/>
                    <a:pt x="42876" y="644961"/>
                    <a:pt x="39218" y="643742"/>
                  </a:cubicBezTo>
                  <a:cubicBezTo>
                    <a:pt x="23395" y="620006"/>
                    <a:pt x="42709" y="643647"/>
                    <a:pt x="17272" y="629112"/>
                  </a:cubicBezTo>
                  <a:cubicBezTo>
                    <a:pt x="12781" y="626546"/>
                    <a:pt x="9957" y="621797"/>
                    <a:pt x="6300" y="618139"/>
                  </a:cubicBezTo>
                  <a:cubicBezTo>
                    <a:pt x="-1071" y="596027"/>
                    <a:pt x="-3071" y="594760"/>
                    <a:pt x="6300" y="559617"/>
                  </a:cubicBezTo>
                  <a:cubicBezTo>
                    <a:pt x="7684" y="554428"/>
                    <a:pt x="24326" y="549951"/>
                    <a:pt x="28245" y="548645"/>
                  </a:cubicBezTo>
                  <a:cubicBezTo>
                    <a:pt x="44084" y="550405"/>
                    <a:pt x="63435" y="551591"/>
                    <a:pt x="79452" y="555960"/>
                  </a:cubicBezTo>
                  <a:cubicBezTo>
                    <a:pt x="86891" y="557989"/>
                    <a:pt x="94981" y="558998"/>
                    <a:pt x="101397" y="563275"/>
                  </a:cubicBezTo>
                  <a:cubicBezTo>
                    <a:pt x="108712" y="568152"/>
                    <a:pt x="115002" y="575124"/>
                    <a:pt x="123343" y="577905"/>
                  </a:cubicBezTo>
                  <a:lnTo>
                    <a:pt x="145288" y="585221"/>
                  </a:lnTo>
                  <a:cubicBezTo>
                    <a:pt x="147727" y="587659"/>
                    <a:pt x="149911" y="590382"/>
                    <a:pt x="152604" y="592536"/>
                  </a:cubicBezTo>
                  <a:cubicBezTo>
                    <a:pt x="156036" y="595282"/>
                    <a:pt x="160468" y="596743"/>
                    <a:pt x="163576" y="599851"/>
                  </a:cubicBezTo>
                  <a:cubicBezTo>
                    <a:pt x="166685" y="602960"/>
                    <a:pt x="167783" y="607715"/>
                    <a:pt x="170892" y="610824"/>
                  </a:cubicBezTo>
                  <a:cubicBezTo>
                    <a:pt x="174000" y="613932"/>
                    <a:pt x="178432" y="615393"/>
                    <a:pt x="181864" y="618139"/>
                  </a:cubicBezTo>
                  <a:cubicBezTo>
                    <a:pt x="188126" y="623149"/>
                    <a:pt x="191616" y="630441"/>
                    <a:pt x="200152" y="632769"/>
                  </a:cubicBezTo>
                  <a:cubicBezTo>
                    <a:pt x="209635" y="635355"/>
                    <a:pt x="219659" y="635208"/>
                    <a:pt x="229413" y="636427"/>
                  </a:cubicBezTo>
                  <a:cubicBezTo>
                    <a:pt x="241637" y="640502"/>
                    <a:pt x="241232" y="640679"/>
                    <a:pt x="255016" y="643742"/>
                  </a:cubicBezTo>
                  <a:cubicBezTo>
                    <a:pt x="281496" y="649626"/>
                    <a:pt x="264671" y="644523"/>
                    <a:pt x="284277" y="651057"/>
                  </a:cubicBezTo>
                  <a:cubicBezTo>
                    <a:pt x="290373" y="649838"/>
                    <a:pt x="297658" y="651217"/>
                    <a:pt x="302565" y="647400"/>
                  </a:cubicBezTo>
                  <a:cubicBezTo>
                    <a:pt x="309505" y="642002"/>
                    <a:pt x="317196" y="625454"/>
                    <a:pt x="317196" y="625454"/>
                  </a:cubicBezTo>
                  <a:cubicBezTo>
                    <a:pt x="315977" y="621796"/>
                    <a:pt x="317061" y="616047"/>
                    <a:pt x="313538" y="614481"/>
                  </a:cubicBezTo>
                  <a:cubicBezTo>
                    <a:pt x="304556" y="610489"/>
                    <a:pt x="293916" y="612752"/>
                    <a:pt x="284277" y="610824"/>
                  </a:cubicBezTo>
                  <a:cubicBezTo>
                    <a:pt x="275574" y="609083"/>
                    <a:pt x="267285" y="605662"/>
                    <a:pt x="258674" y="603509"/>
                  </a:cubicBezTo>
                  <a:cubicBezTo>
                    <a:pt x="252643" y="602001"/>
                    <a:pt x="246482" y="601070"/>
                    <a:pt x="240386" y="599851"/>
                  </a:cubicBezTo>
                  <a:cubicBezTo>
                    <a:pt x="239167" y="596193"/>
                    <a:pt x="236728" y="592734"/>
                    <a:pt x="236728" y="588878"/>
                  </a:cubicBezTo>
                  <a:cubicBezTo>
                    <a:pt x="236728" y="562876"/>
                    <a:pt x="238394" y="563601"/>
                    <a:pt x="247701" y="544987"/>
                  </a:cubicBezTo>
                  <a:cubicBezTo>
                    <a:pt x="245263" y="530357"/>
                    <a:pt x="248159" y="513728"/>
                    <a:pt x="240386" y="501096"/>
                  </a:cubicBezTo>
                  <a:cubicBezTo>
                    <a:pt x="236499" y="494780"/>
                    <a:pt x="224475" y="501749"/>
                    <a:pt x="218440" y="497438"/>
                  </a:cubicBezTo>
                  <a:cubicBezTo>
                    <a:pt x="214350" y="494516"/>
                    <a:pt x="216002" y="487685"/>
                    <a:pt x="214783" y="482808"/>
                  </a:cubicBezTo>
                  <a:cubicBezTo>
                    <a:pt x="239007" y="446470"/>
                    <a:pt x="189599" y="513714"/>
                    <a:pt x="276962" y="475493"/>
                  </a:cubicBezTo>
                  <a:cubicBezTo>
                    <a:pt x="285967" y="471553"/>
                    <a:pt x="279125" y="455947"/>
                    <a:pt x="280620" y="446232"/>
                  </a:cubicBezTo>
                  <a:cubicBezTo>
                    <a:pt x="281565" y="440088"/>
                    <a:pt x="281497" y="433504"/>
                    <a:pt x="284277" y="427944"/>
                  </a:cubicBezTo>
                  <a:cubicBezTo>
                    <a:pt x="287797" y="420903"/>
                    <a:pt x="299921" y="413857"/>
                    <a:pt x="306223" y="409656"/>
                  </a:cubicBezTo>
                  <a:cubicBezTo>
                    <a:pt x="308661" y="405998"/>
                    <a:pt x="310105" y="401429"/>
                    <a:pt x="313538" y="398683"/>
                  </a:cubicBezTo>
                  <a:cubicBezTo>
                    <a:pt x="316549" y="396274"/>
                    <a:pt x="320718" y="395715"/>
                    <a:pt x="324511" y="395025"/>
                  </a:cubicBezTo>
                  <a:cubicBezTo>
                    <a:pt x="334182" y="393267"/>
                    <a:pt x="344018" y="392587"/>
                    <a:pt x="353772" y="391368"/>
                  </a:cubicBezTo>
                  <a:cubicBezTo>
                    <a:pt x="370841" y="392587"/>
                    <a:pt x="387983" y="393026"/>
                    <a:pt x="404978" y="395025"/>
                  </a:cubicBezTo>
                  <a:cubicBezTo>
                    <a:pt x="408807" y="395475"/>
                    <a:pt x="412581" y="396811"/>
                    <a:pt x="415951" y="398683"/>
                  </a:cubicBezTo>
                  <a:cubicBezTo>
                    <a:pt x="423636" y="402953"/>
                    <a:pt x="429114" y="412914"/>
                    <a:pt x="437896" y="413313"/>
                  </a:cubicBezTo>
                  <a:lnTo>
                    <a:pt x="518364" y="416971"/>
                  </a:lnTo>
                  <a:cubicBezTo>
                    <a:pt x="524460" y="418190"/>
                    <a:pt x="530831" y="418446"/>
                    <a:pt x="536652" y="420629"/>
                  </a:cubicBezTo>
                  <a:cubicBezTo>
                    <a:pt x="540768" y="422172"/>
                    <a:pt x="543692" y="425978"/>
                    <a:pt x="547624" y="427944"/>
                  </a:cubicBezTo>
                  <a:cubicBezTo>
                    <a:pt x="551072" y="429668"/>
                    <a:pt x="554939" y="430382"/>
                    <a:pt x="558597" y="431601"/>
                  </a:cubicBezTo>
                  <a:cubicBezTo>
                    <a:pt x="562255" y="435259"/>
                    <a:pt x="564943" y="440261"/>
                    <a:pt x="569570" y="442574"/>
                  </a:cubicBezTo>
                  <a:cubicBezTo>
                    <a:pt x="575130" y="445354"/>
                    <a:pt x="581860" y="444596"/>
                    <a:pt x="587858" y="446232"/>
                  </a:cubicBezTo>
                  <a:cubicBezTo>
                    <a:pt x="595297" y="448261"/>
                    <a:pt x="602489" y="451108"/>
                    <a:pt x="609804" y="453547"/>
                  </a:cubicBezTo>
                  <a:lnTo>
                    <a:pt x="620776" y="457205"/>
                  </a:lnTo>
                  <a:lnTo>
                    <a:pt x="631749" y="460862"/>
                  </a:lnTo>
                  <a:cubicBezTo>
                    <a:pt x="635407" y="463300"/>
                    <a:pt x="638790" y="466211"/>
                    <a:pt x="642722" y="468177"/>
                  </a:cubicBezTo>
                  <a:cubicBezTo>
                    <a:pt x="646171" y="469901"/>
                    <a:pt x="650487" y="469696"/>
                    <a:pt x="653695" y="471835"/>
                  </a:cubicBezTo>
                  <a:cubicBezTo>
                    <a:pt x="657999" y="474704"/>
                    <a:pt x="660177" y="480242"/>
                    <a:pt x="664668" y="482808"/>
                  </a:cubicBezTo>
                  <a:cubicBezTo>
                    <a:pt x="669032" y="485302"/>
                    <a:pt x="674483" y="485021"/>
                    <a:pt x="679298" y="486465"/>
                  </a:cubicBezTo>
                  <a:cubicBezTo>
                    <a:pt x="686684" y="488681"/>
                    <a:pt x="693929" y="491342"/>
                    <a:pt x="701244" y="493781"/>
                  </a:cubicBezTo>
                  <a:cubicBezTo>
                    <a:pt x="704901" y="495000"/>
                    <a:pt x="708637" y="496006"/>
                    <a:pt x="712216" y="497438"/>
                  </a:cubicBezTo>
                  <a:cubicBezTo>
                    <a:pt x="718312" y="499876"/>
                    <a:pt x="724170" y="503025"/>
                    <a:pt x="730504" y="504753"/>
                  </a:cubicBezTo>
                  <a:cubicBezTo>
                    <a:pt x="737659" y="506704"/>
                    <a:pt x="745210" y="506802"/>
                    <a:pt x="752450" y="508411"/>
                  </a:cubicBezTo>
                  <a:cubicBezTo>
                    <a:pt x="756214" y="509247"/>
                    <a:pt x="759765" y="510850"/>
                    <a:pt x="763423" y="512069"/>
                  </a:cubicBezTo>
                  <a:cubicBezTo>
                    <a:pt x="779273" y="510850"/>
                    <a:pt x="795348" y="511341"/>
                    <a:pt x="810972" y="508411"/>
                  </a:cubicBezTo>
                  <a:cubicBezTo>
                    <a:pt x="815292" y="507601"/>
                    <a:pt x="817828" y="502639"/>
                    <a:pt x="821944" y="501096"/>
                  </a:cubicBezTo>
                  <a:cubicBezTo>
                    <a:pt x="827765" y="498913"/>
                    <a:pt x="834136" y="498657"/>
                    <a:pt x="840232" y="497438"/>
                  </a:cubicBezTo>
                  <a:cubicBezTo>
                    <a:pt x="842671" y="495000"/>
                    <a:pt x="848384" y="493469"/>
                    <a:pt x="847548" y="490123"/>
                  </a:cubicBezTo>
                  <a:cubicBezTo>
                    <a:pt x="846482" y="485858"/>
                    <a:pt x="840507" y="484774"/>
                    <a:pt x="836575" y="482808"/>
                  </a:cubicBezTo>
                  <a:cubicBezTo>
                    <a:pt x="806288" y="467665"/>
                    <a:pt x="846076" y="492798"/>
                    <a:pt x="814629" y="471835"/>
                  </a:cubicBezTo>
                  <a:cubicBezTo>
                    <a:pt x="809752" y="464520"/>
                    <a:pt x="807314" y="454766"/>
                    <a:pt x="799999" y="449889"/>
                  </a:cubicBezTo>
                  <a:lnTo>
                    <a:pt x="778053" y="435259"/>
                  </a:lnTo>
                  <a:cubicBezTo>
                    <a:pt x="775615" y="431601"/>
                    <a:pt x="774171" y="427032"/>
                    <a:pt x="770738" y="424286"/>
                  </a:cubicBezTo>
                  <a:cubicBezTo>
                    <a:pt x="767727" y="421878"/>
                    <a:pt x="762491" y="423355"/>
                    <a:pt x="759765" y="420629"/>
                  </a:cubicBezTo>
                  <a:cubicBezTo>
                    <a:pt x="757039" y="417903"/>
                    <a:pt x="758349" y="412793"/>
                    <a:pt x="756108" y="409656"/>
                  </a:cubicBezTo>
                  <a:cubicBezTo>
                    <a:pt x="752099" y="404044"/>
                    <a:pt x="745303" y="400764"/>
                    <a:pt x="741477" y="395025"/>
                  </a:cubicBezTo>
                  <a:cubicBezTo>
                    <a:pt x="724708" y="369872"/>
                    <a:pt x="729627" y="381420"/>
                    <a:pt x="723189" y="362107"/>
                  </a:cubicBezTo>
                  <a:cubicBezTo>
                    <a:pt x="724896" y="324546"/>
                    <a:pt x="715238" y="278615"/>
                    <a:pt x="745135" y="248721"/>
                  </a:cubicBezTo>
                  <a:lnTo>
                    <a:pt x="756108" y="237749"/>
                  </a:lnTo>
                  <a:cubicBezTo>
                    <a:pt x="757327" y="234091"/>
                    <a:pt x="757357" y="229787"/>
                    <a:pt x="759765" y="226776"/>
                  </a:cubicBezTo>
                  <a:cubicBezTo>
                    <a:pt x="762511" y="223343"/>
                    <a:pt x="767305" y="222207"/>
                    <a:pt x="770738" y="219461"/>
                  </a:cubicBezTo>
                  <a:cubicBezTo>
                    <a:pt x="773431" y="217307"/>
                    <a:pt x="775615" y="214584"/>
                    <a:pt x="778053" y="212145"/>
                  </a:cubicBezTo>
                  <a:cubicBezTo>
                    <a:pt x="779272" y="208488"/>
                    <a:pt x="779398" y="204257"/>
                    <a:pt x="781711" y="201173"/>
                  </a:cubicBezTo>
                  <a:cubicBezTo>
                    <a:pt x="786884" y="194276"/>
                    <a:pt x="799999" y="182885"/>
                    <a:pt x="799999" y="182885"/>
                  </a:cubicBezTo>
                  <a:cubicBezTo>
                    <a:pt x="809641" y="153955"/>
                    <a:pt x="799999" y="187616"/>
                    <a:pt x="799999" y="124363"/>
                  </a:cubicBezTo>
                  <a:cubicBezTo>
                    <a:pt x="799999" y="108467"/>
                    <a:pt x="800726" y="92438"/>
                    <a:pt x="803656" y="76814"/>
                  </a:cubicBezTo>
                  <a:cubicBezTo>
                    <a:pt x="804466" y="72493"/>
                    <a:pt x="808533" y="69499"/>
                    <a:pt x="810972" y="65841"/>
                  </a:cubicBezTo>
                  <a:cubicBezTo>
                    <a:pt x="812191" y="60964"/>
                    <a:pt x="815129" y="56213"/>
                    <a:pt x="814629" y="51211"/>
                  </a:cubicBezTo>
                  <a:cubicBezTo>
                    <a:pt x="813862" y="43538"/>
                    <a:pt x="807314" y="29265"/>
                    <a:pt x="807314" y="29265"/>
                  </a:cubicBezTo>
                  <a:cubicBezTo>
                    <a:pt x="808533" y="23169"/>
                    <a:pt x="805641" y="14175"/>
                    <a:pt x="810972" y="10977"/>
                  </a:cubicBezTo>
                  <a:cubicBezTo>
                    <a:pt x="817516" y="7051"/>
                    <a:pt x="838404" y="4881"/>
                    <a:pt x="843890" y="3662"/>
                  </a:cubicBezTo>
                  <a:close/>
                </a:path>
              </a:pathLst>
            </a:custGeom>
            <a:solidFill>
              <a:schemeClr val="accent6">
                <a:lumMod val="75000"/>
                <a:alpha val="77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27" name="Полилиния 26"/>
            <p:cNvSpPr/>
            <p:nvPr/>
          </p:nvSpPr>
          <p:spPr>
            <a:xfrm>
              <a:off x="2712979" y="2816865"/>
              <a:ext cx="915082" cy="1071360"/>
            </a:xfrm>
            <a:custGeom>
              <a:avLst/>
              <a:gdLst>
                <a:gd name="connsiteX0" fmla="*/ 1057046 w 1427479"/>
                <a:gd name="connsiteY0" fmla="*/ 786384 h 1031443"/>
                <a:gd name="connsiteX1" fmla="*/ 1057046 w 1427479"/>
                <a:gd name="connsiteY1" fmla="*/ 786384 h 1031443"/>
                <a:gd name="connsiteX2" fmla="*/ 888797 w 1427479"/>
                <a:gd name="connsiteY2" fmla="*/ 786384 h 1031443"/>
                <a:gd name="connsiteX3" fmla="*/ 877824 w 1427479"/>
                <a:gd name="connsiteY3" fmla="*/ 790041 h 1031443"/>
                <a:gd name="connsiteX4" fmla="*/ 866851 w 1427479"/>
                <a:gd name="connsiteY4" fmla="*/ 797356 h 1031443"/>
                <a:gd name="connsiteX5" fmla="*/ 859536 w 1427479"/>
                <a:gd name="connsiteY5" fmla="*/ 804672 h 1031443"/>
                <a:gd name="connsiteX6" fmla="*/ 844905 w 1427479"/>
                <a:gd name="connsiteY6" fmla="*/ 811987 h 1031443"/>
                <a:gd name="connsiteX7" fmla="*/ 822960 w 1427479"/>
                <a:gd name="connsiteY7" fmla="*/ 826617 h 1031443"/>
                <a:gd name="connsiteX8" fmla="*/ 808329 w 1427479"/>
                <a:gd name="connsiteY8" fmla="*/ 833932 h 1031443"/>
                <a:gd name="connsiteX9" fmla="*/ 797357 w 1427479"/>
                <a:gd name="connsiteY9" fmla="*/ 841248 h 1031443"/>
                <a:gd name="connsiteX10" fmla="*/ 782726 w 1427479"/>
                <a:gd name="connsiteY10" fmla="*/ 844905 h 1031443"/>
                <a:gd name="connsiteX11" fmla="*/ 760781 w 1427479"/>
                <a:gd name="connsiteY11" fmla="*/ 852220 h 1031443"/>
                <a:gd name="connsiteX12" fmla="*/ 749808 w 1427479"/>
                <a:gd name="connsiteY12" fmla="*/ 855878 h 1031443"/>
                <a:gd name="connsiteX13" fmla="*/ 724205 w 1427479"/>
                <a:gd name="connsiteY13" fmla="*/ 863193 h 1031443"/>
                <a:gd name="connsiteX14" fmla="*/ 698601 w 1427479"/>
                <a:gd name="connsiteY14" fmla="*/ 881481 h 1031443"/>
                <a:gd name="connsiteX15" fmla="*/ 687629 w 1427479"/>
                <a:gd name="connsiteY15" fmla="*/ 888796 h 1031443"/>
                <a:gd name="connsiteX16" fmla="*/ 676656 w 1427479"/>
                <a:gd name="connsiteY16" fmla="*/ 892454 h 1031443"/>
                <a:gd name="connsiteX17" fmla="*/ 665683 w 1427479"/>
                <a:gd name="connsiteY17" fmla="*/ 903427 h 1031443"/>
                <a:gd name="connsiteX18" fmla="*/ 643737 w 1427479"/>
                <a:gd name="connsiteY18" fmla="*/ 910742 h 1031443"/>
                <a:gd name="connsiteX19" fmla="*/ 610819 w 1427479"/>
                <a:gd name="connsiteY19" fmla="*/ 918057 h 1031443"/>
                <a:gd name="connsiteX20" fmla="*/ 592531 w 1427479"/>
                <a:gd name="connsiteY20" fmla="*/ 932688 h 1031443"/>
                <a:gd name="connsiteX21" fmla="*/ 581558 w 1427479"/>
                <a:gd name="connsiteY21" fmla="*/ 936345 h 1031443"/>
                <a:gd name="connsiteX22" fmla="*/ 548640 w 1427479"/>
                <a:gd name="connsiteY22" fmla="*/ 954633 h 1031443"/>
                <a:gd name="connsiteX23" fmla="*/ 537667 w 1427479"/>
                <a:gd name="connsiteY23" fmla="*/ 961948 h 1031443"/>
                <a:gd name="connsiteX24" fmla="*/ 530352 w 1427479"/>
                <a:gd name="connsiteY24" fmla="*/ 969264 h 1031443"/>
                <a:gd name="connsiteX25" fmla="*/ 501091 w 1427479"/>
                <a:gd name="connsiteY25" fmla="*/ 983894 h 1031443"/>
                <a:gd name="connsiteX26" fmla="*/ 468173 w 1427479"/>
                <a:gd name="connsiteY26" fmla="*/ 994867 h 1031443"/>
                <a:gd name="connsiteX27" fmla="*/ 457200 w 1427479"/>
                <a:gd name="connsiteY27" fmla="*/ 998524 h 1031443"/>
                <a:gd name="connsiteX28" fmla="*/ 435254 w 1427479"/>
                <a:gd name="connsiteY28" fmla="*/ 1013155 h 1031443"/>
                <a:gd name="connsiteX29" fmla="*/ 398678 w 1427479"/>
                <a:gd name="connsiteY29" fmla="*/ 1024128 h 1031443"/>
                <a:gd name="connsiteX30" fmla="*/ 332841 w 1427479"/>
                <a:gd name="connsiteY30" fmla="*/ 1031443 h 1031443"/>
                <a:gd name="connsiteX31" fmla="*/ 223113 w 1427479"/>
                <a:gd name="connsiteY31" fmla="*/ 1024128 h 1031443"/>
                <a:gd name="connsiteX32" fmla="*/ 171907 w 1427479"/>
                <a:gd name="connsiteY32" fmla="*/ 1009497 h 1031443"/>
                <a:gd name="connsiteX33" fmla="*/ 157277 w 1427479"/>
                <a:gd name="connsiteY33" fmla="*/ 1005840 h 1031443"/>
                <a:gd name="connsiteX34" fmla="*/ 124358 w 1427479"/>
                <a:gd name="connsiteY34" fmla="*/ 994867 h 1031443"/>
                <a:gd name="connsiteX35" fmla="*/ 109728 w 1427479"/>
                <a:gd name="connsiteY35" fmla="*/ 983894 h 1031443"/>
                <a:gd name="connsiteX36" fmla="*/ 98755 w 1427479"/>
                <a:gd name="connsiteY36" fmla="*/ 980236 h 1031443"/>
                <a:gd name="connsiteX37" fmla="*/ 84125 w 1427479"/>
                <a:gd name="connsiteY37" fmla="*/ 972921 h 1031443"/>
                <a:gd name="connsiteX38" fmla="*/ 65837 w 1427479"/>
                <a:gd name="connsiteY38" fmla="*/ 954633 h 1031443"/>
                <a:gd name="connsiteX39" fmla="*/ 62179 w 1427479"/>
                <a:gd name="connsiteY39" fmla="*/ 943660 h 1031443"/>
                <a:gd name="connsiteX40" fmla="*/ 47549 w 1427479"/>
                <a:gd name="connsiteY40" fmla="*/ 925372 h 1031443"/>
                <a:gd name="connsiteX41" fmla="*/ 36576 w 1427479"/>
                <a:gd name="connsiteY41" fmla="*/ 907084 h 1031443"/>
                <a:gd name="connsiteX42" fmla="*/ 25603 w 1427479"/>
                <a:gd name="connsiteY42" fmla="*/ 888796 h 1031443"/>
                <a:gd name="connsiteX43" fmla="*/ 14630 w 1427479"/>
                <a:gd name="connsiteY43" fmla="*/ 870508 h 1031443"/>
                <a:gd name="connsiteX44" fmla="*/ 10973 w 1427479"/>
                <a:gd name="connsiteY44" fmla="*/ 859536 h 1031443"/>
                <a:gd name="connsiteX45" fmla="*/ 7315 w 1427479"/>
                <a:gd name="connsiteY45" fmla="*/ 841248 h 1031443"/>
                <a:gd name="connsiteX46" fmla="*/ 3657 w 1427479"/>
                <a:gd name="connsiteY46" fmla="*/ 826617 h 1031443"/>
                <a:gd name="connsiteX47" fmla="*/ 0 w 1427479"/>
                <a:gd name="connsiteY47" fmla="*/ 793699 h 1031443"/>
                <a:gd name="connsiteX48" fmla="*/ 3657 w 1427479"/>
                <a:gd name="connsiteY48" fmla="*/ 742492 h 1031443"/>
                <a:gd name="connsiteX49" fmla="*/ 29261 w 1427479"/>
                <a:gd name="connsiteY49" fmla="*/ 702259 h 1031443"/>
                <a:gd name="connsiteX50" fmla="*/ 40233 w 1427479"/>
                <a:gd name="connsiteY50" fmla="*/ 691286 h 1031443"/>
                <a:gd name="connsiteX51" fmla="*/ 47549 w 1427479"/>
                <a:gd name="connsiteY51" fmla="*/ 683971 h 1031443"/>
                <a:gd name="connsiteX52" fmla="*/ 58521 w 1427479"/>
                <a:gd name="connsiteY52" fmla="*/ 676656 h 1031443"/>
                <a:gd name="connsiteX53" fmla="*/ 65837 w 1427479"/>
                <a:gd name="connsiteY53" fmla="*/ 662025 h 1031443"/>
                <a:gd name="connsiteX54" fmla="*/ 76809 w 1427479"/>
                <a:gd name="connsiteY54" fmla="*/ 658368 h 1031443"/>
                <a:gd name="connsiteX55" fmla="*/ 84125 w 1427479"/>
                <a:gd name="connsiteY55" fmla="*/ 651052 h 1031443"/>
                <a:gd name="connsiteX56" fmla="*/ 91440 w 1427479"/>
                <a:gd name="connsiteY56" fmla="*/ 640080 h 1031443"/>
                <a:gd name="connsiteX57" fmla="*/ 98755 w 1427479"/>
                <a:gd name="connsiteY57" fmla="*/ 632764 h 1031443"/>
                <a:gd name="connsiteX58" fmla="*/ 106070 w 1427479"/>
                <a:gd name="connsiteY58" fmla="*/ 621792 h 1031443"/>
                <a:gd name="connsiteX59" fmla="*/ 117043 w 1427479"/>
                <a:gd name="connsiteY59" fmla="*/ 614476 h 1031443"/>
                <a:gd name="connsiteX60" fmla="*/ 128016 w 1427479"/>
                <a:gd name="connsiteY60" fmla="*/ 596188 h 1031443"/>
                <a:gd name="connsiteX61" fmla="*/ 138989 w 1427479"/>
                <a:gd name="connsiteY61" fmla="*/ 570585 h 1031443"/>
                <a:gd name="connsiteX62" fmla="*/ 160934 w 1427479"/>
                <a:gd name="connsiteY62" fmla="*/ 541324 h 1031443"/>
                <a:gd name="connsiteX63" fmla="*/ 171907 w 1427479"/>
                <a:gd name="connsiteY63" fmla="*/ 515721 h 1031443"/>
                <a:gd name="connsiteX64" fmla="*/ 179222 w 1427479"/>
                <a:gd name="connsiteY64" fmla="*/ 504748 h 1031443"/>
                <a:gd name="connsiteX65" fmla="*/ 193853 w 1427479"/>
                <a:gd name="connsiteY65" fmla="*/ 471830 h 1031443"/>
                <a:gd name="connsiteX66" fmla="*/ 190195 w 1427479"/>
                <a:gd name="connsiteY66" fmla="*/ 442569 h 1031443"/>
                <a:gd name="connsiteX67" fmla="*/ 168249 w 1427479"/>
                <a:gd name="connsiteY67" fmla="*/ 413308 h 1031443"/>
                <a:gd name="connsiteX68" fmla="*/ 157277 w 1427479"/>
                <a:gd name="connsiteY68" fmla="*/ 409651 h 1031443"/>
                <a:gd name="connsiteX69" fmla="*/ 131673 w 1427479"/>
                <a:gd name="connsiteY69" fmla="*/ 380390 h 1031443"/>
                <a:gd name="connsiteX70" fmla="*/ 106070 w 1427479"/>
                <a:gd name="connsiteY70" fmla="*/ 351129 h 1031443"/>
                <a:gd name="connsiteX71" fmla="*/ 98755 w 1427479"/>
                <a:gd name="connsiteY71" fmla="*/ 329184 h 1031443"/>
                <a:gd name="connsiteX72" fmla="*/ 95097 w 1427479"/>
                <a:gd name="connsiteY72" fmla="*/ 318211 h 1031443"/>
                <a:gd name="connsiteX73" fmla="*/ 87782 w 1427479"/>
                <a:gd name="connsiteY73" fmla="*/ 307238 h 1031443"/>
                <a:gd name="connsiteX74" fmla="*/ 76809 w 1427479"/>
                <a:gd name="connsiteY74" fmla="*/ 259689 h 1031443"/>
                <a:gd name="connsiteX75" fmla="*/ 73152 w 1427479"/>
                <a:gd name="connsiteY75" fmla="*/ 245059 h 1031443"/>
                <a:gd name="connsiteX76" fmla="*/ 69494 w 1427479"/>
                <a:gd name="connsiteY76" fmla="*/ 230428 h 1031443"/>
                <a:gd name="connsiteX77" fmla="*/ 65837 w 1427479"/>
                <a:gd name="connsiteY77" fmla="*/ 204825 h 1031443"/>
                <a:gd name="connsiteX78" fmla="*/ 69494 w 1427479"/>
                <a:gd name="connsiteY78" fmla="*/ 54864 h 1031443"/>
                <a:gd name="connsiteX79" fmla="*/ 76809 w 1427479"/>
                <a:gd name="connsiteY79" fmla="*/ 47548 h 1031443"/>
                <a:gd name="connsiteX80" fmla="*/ 98755 w 1427479"/>
                <a:gd name="connsiteY80" fmla="*/ 32918 h 1031443"/>
                <a:gd name="connsiteX81" fmla="*/ 109728 w 1427479"/>
                <a:gd name="connsiteY81" fmla="*/ 25603 h 1031443"/>
                <a:gd name="connsiteX82" fmla="*/ 120701 w 1427479"/>
                <a:gd name="connsiteY82" fmla="*/ 21945 h 1031443"/>
                <a:gd name="connsiteX83" fmla="*/ 142646 w 1427479"/>
                <a:gd name="connsiteY83" fmla="*/ 10972 h 1031443"/>
                <a:gd name="connsiteX84" fmla="*/ 157277 w 1427479"/>
                <a:gd name="connsiteY84" fmla="*/ 7315 h 1031443"/>
                <a:gd name="connsiteX85" fmla="*/ 179222 w 1427479"/>
                <a:gd name="connsiteY85" fmla="*/ 0 h 1031443"/>
                <a:gd name="connsiteX86" fmla="*/ 270662 w 1427479"/>
                <a:gd name="connsiteY86" fmla="*/ 3657 h 1031443"/>
                <a:gd name="connsiteX87" fmla="*/ 288950 w 1427479"/>
                <a:gd name="connsiteY87" fmla="*/ 10972 h 1031443"/>
                <a:gd name="connsiteX88" fmla="*/ 303581 w 1427479"/>
                <a:gd name="connsiteY88" fmla="*/ 14630 h 1031443"/>
                <a:gd name="connsiteX89" fmla="*/ 329184 w 1427479"/>
                <a:gd name="connsiteY89" fmla="*/ 25603 h 1031443"/>
                <a:gd name="connsiteX90" fmla="*/ 351129 w 1427479"/>
                <a:gd name="connsiteY90" fmla="*/ 29260 h 1031443"/>
                <a:gd name="connsiteX91" fmla="*/ 376733 w 1427479"/>
                <a:gd name="connsiteY91" fmla="*/ 40233 h 1031443"/>
                <a:gd name="connsiteX92" fmla="*/ 402336 w 1427479"/>
                <a:gd name="connsiteY92" fmla="*/ 47548 h 1031443"/>
                <a:gd name="connsiteX93" fmla="*/ 424281 w 1427479"/>
                <a:gd name="connsiteY93" fmla="*/ 54864 h 1031443"/>
                <a:gd name="connsiteX94" fmla="*/ 435254 w 1427479"/>
                <a:gd name="connsiteY94" fmla="*/ 58521 h 1031443"/>
                <a:gd name="connsiteX95" fmla="*/ 482803 w 1427479"/>
                <a:gd name="connsiteY95" fmla="*/ 65836 h 1031443"/>
                <a:gd name="connsiteX96" fmla="*/ 541325 w 1427479"/>
                <a:gd name="connsiteY96" fmla="*/ 73152 h 1031443"/>
                <a:gd name="connsiteX97" fmla="*/ 559613 w 1427479"/>
                <a:gd name="connsiteY97" fmla="*/ 76809 h 1031443"/>
                <a:gd name="connsiteX98" fmla="*/ 585216 w 1427479"/>
                <a:gd name="connsiteY98" fmla="*/ 84124 h 1031443"/>
                <a:gd name="connsiteX99" fmla="*/ 610819 w 1427479"/>
                <a:gd name="connsiteY99" fmla="*/ 87782 h 1031443"/>
                <a:gd name="connsiteX100" fmla="*/ 625449 w 1427479"/>
                <a:gd name="connsiteY100" fmla="*/ 91440 h 1031443"/>
                <a:gd name="connsiteX101" fmla="*/ 636422 w 1427479"/>
                <a:gd name="connsiteY101" fmla="*/ 95097 h 1031443"/>
                <a:gd name="connsiteX102" fmla="*/ 680313 w 1427479"/>
                <a:gd name="connsiteY102" fmla="*/ 98755 h 1031443"/>
                <a:gd name="connsiteX103" fmla="*/ 954633 w 1427479"/>
                <a:gd name="connsiteY103" fmla="*/ 91440 h 1031443"/>
                <a:gd name="connsiteX104" fmla="*/ 965606 w 1427479"/>
                <a:gd name="connsiteY104" fmla="*/ 87782 h 1031443"/>
                <a:gd name="connsiteX105" fmla="*/ 1031443 w 1427479"/>
                <a:gd name="connsiteY105" fmla="*/ 80467 h 1031443"/>
                <a:gd name="connsiteX106" fmla="*/ 1064361 w 1427479"/>
                <a:gd name="connsiteY106" fmla="*/ 69494 h 1031443"/>
                <a:gd name="connsiteX107" fmla="*/ 1075334 w 1427479"/>
                <a:gd name="connsiteY107" fmla="*/ 65836 h 1031443"/>
                <a:gd name="connsiteX108" fmla="*/ 1089965 w 1427479"/>
                <a:gd name="connsiteY108" fmla="*/ 58521 h 1031443"/>
                <a:gd name="connsiteX109" fmla="*/ 1108253 w 1427479"/>
                <a:gd name="connsiteY109" fmla="*/ 54864 h 1031443"/>
                <a:gd name="connsiteX110" fmla="*/ 1119225 w 1427479"/>
                <a:gd name="connsiteY110" fmla="*/ 51206 h 1031443"/>
                <a:gd name="connsiteX111" fmla="*/ 1199693 w 1427479"/>
                <a:gd name="connsiteY111" fmla="*/ 65836 h 1031443"/>
                <a:gd name="connsiteX112" fmla="*/ 1221638 w 1427479"/>
                <a:gd name="connsiteY112" fmla="*/ 84124 h 1031443"/>
                <a:gd name="connsiteX113" fmla="*/ 1236269 w 1427479"/>
                <a:gd name="connsiteY113" fmla="*/ 87782 h 1031443"/>
                <a:gd name="connsiteX114" fmla="*/ 1261872 w 1427479"/>
                <a:gd name="connsiteY114" fmla="*/ 117043 h 1031443"/>
                <a:gd name="connsiteX115" fmla="*/ 1269187 w 1427479"/>
                <a:gd name="connsiteY115" fmla="*/ 128016 h 1031443"/>
                <a:gd name="connsiteX116" fmla="*/ 1280160 w 1427479"/>
                <a:gd name="connsiteY116" fmla="*/ 135331 h 1031443"/>
                <a:gd name="connsiteX117" fmla="*/ 1287475 w 1427479"/>
                <a:gd name="connsiteY117" fmla="*/ 146304 h 1031443"/>
                <a:gd name="connsiteX118" fmla="*/ 1291133 w 1427479"/>
                <a:gd name="connsiteY118" fmla="*/ 157276 h 1031443"/>
                <a:gd name="connsiteX119" fmla="*/ 1305763 w 1427479"/>
                <a:gd name="connsiteY119" fmla="*/ 175564 h 1031443"/>
                <a:gd name="connsiteX120" fmla="*/ 1313078 w 1427479"/>
                <a:gd name="connsiteY120" fmla="*/ 197510 h 1031443"/>
                <a:gd name="connsiteX121" fmla="*/ 1316736 w 1427479"/>
                <a:gd name="connsiteY121" fmla="*/ 208483 h 1031443"/>
                <a:gd name="connsiteX122" fmla="*/ 1320393 w 1427479"/>
                <a:gd name="connsiteY122" fmla="*/ 219456 h 1031443"/>
                <a:gd name="connsiteX123" fmla="*/ 1324051 w 1427479"/>
                <a:gd name="connsiteY123" fmla="*/ 343814 h 1031443"/>
                <a:gd name="connsiteX124" fmla="*/ 1331366 w 1427479"/>
                <a:gd name="connsiteY124" fmla="*/ 354787 h 1031443"/>
                <a:gd name="connsiteX125" fmla="*/ 1338681 w 1427479"/>
                <a:gd name="connsiteY125" fmla="*/ 369417 h 1031443"/>
                <a:gd name="connsiteX126" fmla="*/ 1367942 w 1427479"/>
                <a:gd name="connsiteY126" fmla="*/ 395020 h 1031443"/>
                <a:gd name="connsiteX127" fmla="*/ 1375257 w 1427479"/>
                <a:gd name="connsiteY127" fmla="*/ 402336 h 1031443"/>
                <a:gd name="connsiteX128" fmla="*/ 1386230 w 1427479"/>
                <a:gd name="connsiteY128" fmla="*/ 409651 h 1031443"/>
                <a:gd name="connsiteX129" fmla="*/ 1408176 w 1427479"/>
                <a:gd name="connsiteY129" fmla="*/ 431596 h 1031443"/>
                <a:gd name="connsiteX130" fmla="*/ 1422806 w 1427479"/>
                <a:gd name="connsiteY130" fmla="*/ 468172 h 1031443"/>
                <a:gd name="connsiteX131" fmla="*/ 1422806 w 1427479"/>
                <a:gd name="connsiteY131" fmla="*/ 544982 h 1031443"/>
                <a:gd name="connsiteX132" fmla="*/ 1411833 w 1427479"/>
                <a:gd name="connsiteY132" fmla="*/ 577900 h 1031443"/>
                <a:gd name="connsiteX133" fmla="*/ 1397203 w 1427479"/>
                <a:gd name="connsiteY133" fmla="*/ 599846 h 1031443"/>
                <a:gd name="connsiteX134" fmla="*/ 1378915 w 1427479"/>
                <a:gd name="connsiteY134" fmla="*/ 618134 h 1031443"/>
                <a:gd name="connsiteX135" fmla="*/ 1367942 w 1427479"/>
                <a:gd name="connsiteY135" fmla="*/ 640080 h 1031443"/>
                <a:gd name="connsiteX136" fmla="*/ 1356969 w 1427479"/>
                <a:gd name="connsiteY136" fmla="*/ 651052 h 1031443"/>
                <a:gd name="connsiteX137" fmla="*/ 1349654 w 1427479"/>
                <a:gd name="connsiteY137" fmla="*/ 662025 h 1031443"/>
                <a:gd name="connsiteX138" fmla="*/ 1331366 w 1427479"/>
                <a:gd name="connsiteY138" fmla="*/ 687628 h 1031443"/>
                <a:gd name="connsiteX139" fmla="*/ 1327709 w 1427479"/>
                <a:gd name="connsiteY139" fmla="*/ 702259 h 1031443"/>
                <a:gd name="connsiteX140" fmla="*/ 1316736 w 1427479"/>
                <a:gd name="connsiteY140" fmla="*/ 727862 h 1031443"/>
                <a:gd name="connsiteX141" fmla="*/ 1309421 w 1427479"/>
                <a:gd name="connsiteY141" fmla="*/ 738835 h 1031443"/>
                <a:gd name="connsiteX142" fmla="*/ 1283817 w 1427479"/>
                <a:gd name="connsiteY142" fmla="*/ 757123 h 1031443"/>
                <a:gd name="connsiteX143" fmla="*/ 1258214 w 1427479"/>
                <a:gd name="connsiteY143" fmla="*/ 760780 h 1031443"/>
                <a:gd name="connsiteX144" fmla="*/ 1122883 w 1427479"/>
                <a:gd name="connsiteY144" fmla="*/ 764438 h 1031443"/>
                <a:gd name="connsiteX145" fmla="*/ 1100937 w 1427479"/>
                <a:gd name="connsiteY145" fmla="*/ 771753 h 1031443"/>
                <a:gd name="connsiteX146" fmla="*/ 1089965 w 1427479"/>
                <a:gd name="connsiteY146" fmla="*/ 779068 h 1031443"/>
                <a:gd name="connsiteX147" fmla="*/ 1049731 w 1427479"/>
                <a:gd name="connsiteY147" fmla="*/ 790041 h 1031443"/>
                <a:gd name="connsiteX148" fmla="*/ 1057046 w 1427479"/>
                <a:gd name="connsiteY148" fmla="*/ 786384 h 103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1427479" h="1031443">
                  <a:moveTo>
                    <a:pt x="1057046" y="786384"/>
                  </a:moveTo>
                  <a:lnTo>
                    <a:pt x="1057046" y="786384"/>
                  </a:lnTo>
                  <a:cubicBezTo>
                    <a:pt x="984382" y="778309"/>
                    <a:pt x="1014299" y="780109"/>
                    <a:pt x="888797" y="786384"/>
                  </a:cubicBezTo>
                  <a:cubicBezTo>
                    <a:pt x="884946" y="786577"/>
                    <a:pt x="881482" y="788822"/>
                    <a:pt x="877824" y="790041"/>
                  </a:cubicBezTo>
                  <a:cubicBezTo>
                    <a:pt x="874166" y="792479"/>
                    <a:pt x="870284" y="794610"/>
                    <a:pt x="866851" y="797356"/>
                  </a:cubicBezTo>
                  <a:cubicBezTo>
                    <a:pt x="864158" y="799510"/>
                    <a:pt x="862405" y="802759"/>
                    <a:pt x="859536" y="804672"/>
                  </a:cubicBezTo>
                  <a:cubicBezTo>
                    <a:pt x="854999" y="807697"/>
                    <a:pt x="849581" y="809182"/>
                    <a:pt x="844905" y="811987"/>
                  </a:cubicBezTo>
                  <a:cubicBezTo>
                    <a:pt x="837366" y="816510"/>
                    <a:pt x="830823" y="822686"/>
                    <a:pt x="822960" y="826617"/>
                  </a:cubicBezTo>
                  <a:cubicBezTo>
                    <a:pt x="818083" y="829055"/>
                    <a:pt x="813063" y="831227"/>
                    <a:pt x="808329" y="833932"/>
                  </a:cubicBezTo>
                  <a:cubicBezTo>
                    <a:pt x="804512" y="836113"/>
                    <a:pt x="801397" y="839516"/>
                    <a:pt x="797357" y="841248"/>
                  </a:cubicBezTo>
                  <a:cubicBezTo>
                    <a:pt x="792736" y="843228"/>
                    <a:pt x="787541" y="843461"/>
                    <a:pt x="782726" y="844905"/>
                  </a:cubicBezTo>
                  <a:cubicBezTo>
                    <a:pt x="775340" y="847121"/>
                    <a:pt x="768096" y="849782"/>
                    <a:pt x="760781" y="852220"/>
                  </a:cubicBezTo>
                  <a:cubicBezTo>
                    <a:pt x="757123" y="853439"/>
                    <a:pt x="753548" y="854943"/>
                    <a:pt x="749808" y="855878"/>
                  </a:cubicBezTo>
                  <a:cubicBezTo>
                    <a:pt x="731437" y="860471"/>
                    <a:pt x="739946" y="857946"/>
                    <a:pt x="724205" y="863193"/>
                  </a:cubicBezTo>
                  <a:cubicBezTo>
                    <a:pt x="706848" y="880550"/>
                    <a:pt x="716117" y="875643"/>
                    <a:pt x="698601" y="881481"/>
                  </a:cubicBezTo>
                  <a:cubicBezTo>
                    <a:pt x="694944" y="883919"/>
                    <a:pt x="691561" y="886830"/>
                    <a:pt x="687629" y="888796"/>
                  </a:cubicBezTo>
                  <a:cubicBezTo>
                    <a:pt x="684181" y="890520"/>
                    <a:pt x="679864" y="890315"/>
                    <a:pt x="676656" y="892454"/>
                  </a:cubicBezTo>
                  <a:cubicBezTo>
                    <a:pt x="672352" y="895323"/>
                    <a:pt x="670205" y="900915"/>
                    <a:pt x="665683" y="903427"/>
                  </a:cubicBezTo>
                  <a:cubicBezTo>
                    <a:pt x="658942" y="907172"/>
                    <a:pt x="651052" y="908303"/>
                    <a:pt x="643737" y="910742"/>
                  </a:cubicBezTo>
                  <a:cubicBezTo>
                    <a:pt x="625724" y="916747"/>
                    <a:pt x="636578" y="913765"/>
                    <a:pt x="610819" y="918057"/>
                  </a:cubicBezTo>
                  <a:cubicBezTo>
                    <a:pt x="583235" y="927252"/>
                    <a:pt x="616168" y="913779"/>
                    <a:pt x="592531" y="932688"/>
                  </a:cubicBezTo>
                  <a:cubicBezTo>
                    <a:pt x="589520" y="935096"/>
                    <a:pt x="585216" y="935126"/>
                    <a:pt x="581558" y="936345"/>
                  </a:cubicBezTo>
                  <a:cubicBezTo>
                    <a:pt x="556405" y="953115"/>
                    <a:pt x="567954" y="948196"/>
                    <a:pt x="548640" y="954633"/>
                  </a:cubicBezTo>
                  <a:cubicBezTo>
                    <a:pt x="544982" y="957071"/>
                    <a:pt x="541100" y="959202"/>
                    <a:pt x="537667" y="961948"/>
                  </a:cubicBezTo>
                  <a:cubicBezTo>
                    <a:pt x="534974" y="964102"/>
                    <a:pt x="533309" y="967490"/>
                    <a:pt x="530352" y="969264"/>
                  </a:cubicBezTo>
                  <a:cubicBezTo>
                    <a:pt x="521001" y="974875"/>
                    <a:pt x="511436" y="980446"/>
                    <a:pt x="501091" y="983894"/>
                  </a:cubicBezTo>
                  <a:lnTo>
                    <a:pt x="468173" y="994867"/>
                  </a:lnTo>
                  <a:lnTo>
                    <a:pt x="457200" y="998524"/>
                  </a:lnTo>
                  <a:cubicBezTo>
                    <a:pt x="449885" y="1003401"/>
                    <a:pt x="443595" y="1010375"/>
                    <a:pt x="435254" y="1013155"/>
                  </a:cubicBezTo>
                  <a:cubicBezTo>
                    <a:pt x="423806" y="1016971"/>
                    <a:pt x="410836" y="1021917"/>
                    <a:pt x="398678" y="1024128"/>
                  </a:cubicBezTo>
                  <a:cubicBezTo>
                    <a:pt x="376439" y="1028171"/>
                    <a:pt x="355580" y="1029376"/>
                    <a:pt x="332841" y="1031443"/>
                  </a:cubicBezTo>
                  <a:cubicBezTo>
                    <a:pt x="309773" y="1030394"/>
                    <a:pt x="254409" y="1029996"/>
                    <a:pt x="223113" y="1024128"/>
                  </a:cubicBezTo>
                  <a:cubicBezTo>
                    <a:pt x="168375" y="1013864"/>
                    <a:pt x="217195" y="1020817"/>
                    <a:pt x="171907" y="1009497"/>
                  </a:cubicBezTo>
                  <a:lnTo>
                    <a:pt x="157277" y="1005840"/>
                  </a:lnTo>
                  <a:cubicBezTo>
                    <a:pt x="126504" y="985323"/>
                    <a:pt x="173633" y="1014576"/>
                    <a:pt x="124358" y="994867"/>
                  </a:cubicBezTo>
                  <a:cubicBezTo>
                    <a:pt x="118698" y="992603"/>
                    <a:pt x="115021" y="986919"/>
                    <a:pt x="109728" y="983894"/>
                  </a:cubicBezTo>
                  <a:cubicBezTo>
                    <a:pt x="106380" y="981981"/>
                    <a:pt x="102299" y="981755"/>
                    <a:pt x="98755" y="980236"/>
                  </a:cubicBezTo>
                  <a:cubicBezTo>
                    <a:pt x="93744" y="978088"/>
                    <a:pt x="88429" y="976268"/>
                    <a:pt x="84125" y="972921"/>
                  </a:cubicBezTo>
                  <a:cubicBezTo>
                    <a:pt x="77320" y="967628"/>
                    <a:pt x="65837" y="954633"/>
                    <a:pt x="65837" y="954633"/>
                  </a:cubicBezTo>
                  <a:cubicBezTo>
                    <a:pt x="64618" y="950975"/>
                    <a:pt x="63903" y="947108"/>
                    <a:pt x="62179" y="943660"/>
                  </a:cubicBezTo>
                  <a:cubicBezTo>
                    <a:pt x="57566" y="934434"/>
                    <a:pt x="54351" y="932175"/>
                    <a:pt x="47549" y="925372"/>
                  </a:cubicBezTo>
                  <a:cubicBezTo>
                    <a:pt x="37187" y="894292"/>
                    <a:pt x="51638" y="932187"/>
                    <a:pt x="36576" y="907084"/>
                  </a:cubicBezTo>
                  <a:cubicBezTo>
                    <a:pt x="22331" y="883343"/>
                    <a:pt x="44138" y="907334"/>
                    <a:pt x="25603" y="888796"/>
                  </a:cubicBezTo>
                  <a:cubicBezTo>
                    <a:pt x="15239" y="857710"/>
                    <a:pt x="29694" y="895616"/>
                    <a:pt x="14630" y="870508"/>
                  </a:cubicBezTo>
                  <a:cubicBezTo>
                    <a:pt x="12647" y="867202"/>
                    <a:pt x="11908" y="863276"/>
                    <a:pt x="10973" y="859536"/>
                  </a:cubicBezTo>
                  <a:cubicBezTo>
                    <a:pt x="9465" y="853505"/>
                    <a:pt x="8664" y="847317"/>
                    <a:pt x="7315" y="841248"/>
                  </a:cubicBezTo>
                  <a:cubicBezTo>
                    <a:pt x="6224" y="836341"/>
                    <a:pt x="4876" y="831494"/>
                    <a:pt x="3657" y="826617"/>
                  </a:cubicBezTo>
                  <a:cubicBezTo>
                    <a:pt x="2438" y="815644"/>
                    <a:pt x="0" y="804739"/>
                    <a:pt x="0" y="793699"/>
                  </a:cubicBezTo>
                  <a:cubicBezTo>
                    <a:pt x="0" y="776587"/>
                    <a:pt x="1118" y="759415"/>
                    <a:pt x="3657" y="742492"/>
                  </a:cubicBezTo>
                  <a:cubicBezTo>
                    <a:pt x="7201" y="718867"/>
                    <a:pt x="12786" y="718734"/>
                    <a:pt x="29261" y="702259"/>
                  </a:cubicBezTo>
                  <a:lnTo>
                    <a:pt x="40233" y="691286"/>
                  </a:lnTo>
                  <a:cubicBezTo>
                    <a:pt x="42672" y="688847"/>
                    <a:pt x="44680" y="685884"/>
                    <a:pt x="47549" y="683971"/>
                  </a:cubicBezTo>
                  <a:lnTo>
                    <a:pt x="58521" y="676656"/>
                  </a:lnTo>
                  <a:cubicBezTo>
                    <a:pt x="60960" y="671779"/>
                    <a:pt x="61981" y="665881"/>
                    <a:pt x="65837" y="662025"/>
                  </a:cubicBezTo>
                  <a:cubicBezTo>
                    <a:pt x="68563" y="659299"/>
                    <a:pt x="73503" y="660351"/>
                    <a:pt x="76809" y="658368"/>
                  </a:cubicBezTo>
                  <a:cubicBezTo>
                    <a:pt x="79766" y="656594"/>
                    <a:pt x="81971" y="653745"/>
                    <a:pt x="84125" y="651052"/>
                  </a:cubicBezTo>
                  <a:cubicBezTo>
                    <a:pt x="86871" y="647620"/>
                    <a:pt x="88694" y="643512"/>
                    <a:pt x="91440" y="640080"/>
                  </a:cubicBezTo>
                  <a:cubicBezTo>
                    <a:pt x="93594" y="637387"/>
                    <a:pt x="96601" y="635457"/>
                    <a:pt x="98755" y="632764"/>
                  </a:cubicBezTo>
                  <a:cubicBezTo>
                    <a:pt x="101501" y="629332"/>
                    <a:pt x="102962" y="624900"/>
                    <a:pt x="106070" y="621792"/>
                  </a:cubicBezTo>
                  <a:cubicBezTo>
                    <a:pt x="109179" y="618683"/>
                    <a:pt x="113385" y="616915"/>
                    <a:pt x="117043" y="614476"/>
                  </a:cubicBezTo>
                  <a:cubicBezTo>
                    <a:pt x="125534" y="589006"/>
                    <a:pt x="114627" y="616272"/>
                    <a:pt x="128016" y="596188"/>
                  </a:cubicBezTo>
                  <a:cubicBezTo>
                    <a:pt x="152435" y="559557"/>
                    <a:pt x="122731" y="599850"/>
                    <a:pt x="138989" y="570585"/>
                  </a:cubicBezTo>
                  <a:cubicBezTo>
                    <a:pt x="149328" y="551976"/>
                    <a:pt x="149837" y="552423"/>
                    <a:pt x="160934" y="541324"/>
                  </a:cubicBezTo>
                  <a:cubicBezTo>
                    <a:pt x="165037" y="529016"/>
                    <a:pt x="164677" y="528374"/>
                    <a:pt x="171907" y="515721"/>
                  </a:cubicBezTo>
                  <a:cubicBezTo>
                    <a:pt x="174088" y="511904"/>
                    <a:pt x="177437" y="508765"/>
                    <a:pt x="179222" y="504748"/>
                  </a:cubicBezTo>
                  <a:cubicBezTo>
                    <a:pt x="196630" y="465580"/>
                    <a:pt x="177298" y="496660"/>
                    <a:pt x="193853" y="471830"/>
                  </a:cubicBezTo>
                  <a:cubicBezTo>
                    <a:pt x="192634" y="462076"/>
                    <a:pt x="193501" y="451826"/>
                    <a:pt x="190195" y="442569"/>
                  </a:cubicBezTo>
                  <a:cubicBezTo>
                    <a:pt x="189699" y="441181"/>
                    <a:pt x="175486" y="417650"/>
                    <a:pt x="168249" y="413308"/>
                  </a:cubicBezTo>
                  <a:cubicBezTo>
                    <a:pt x="164943" y="411325"/>
                    <a:pt x="160934" y="410870"/>
                    <a:pt x="157277" y="409651"/>
                  </a:cubicBezTo>
                  <a:cubicBezTo>
                    <a:pt x="109840" y="362214"/>
                    <a:pt x="171970" y="425723"/>
                    <a:pt x="131673" y="380390"/>
                  </a:cubicBezTo>
                  <a:cubicBezTo>
                    <a:pt x="103147" y="348299"/>
                    <a:pt x="121802" y="374728"/>
                    <a:pt x="106070" y="351129"/>
                  </a:cubicBezTo>
                  <a:lnTo>
                    <a:pt x="98755" y="329184"/>
                  </a:lnTo>
                  <a:cubicBezTo>
                    <a:pt x="97536" y="325526"/>
                    <a:pt x="97236" y="321419"/>
                    <a:pt x="95097" y="318211"/>
                  </a:cubicBezTo>
                  <a:lnTo>
                    <a:pt x="87782" y="307238"/>
                  </a:lnTo>
                  <a:cubicBezTo>
                    <a:pt x="82152" y="279083"/>
                    <a:pt x="85636" y="294995"/>
                    <a:pt x="76809" y="259689"/>
                  </a:cubicBezTo>
                  <a:lnTo>
                    <a:pt x="73152" y="245059"/>
                  </a:lnTo>
                  <a:cubicBezTo>
                    <a:pt x="71933" y="240182"/>
                    <a:pt x="70205" y="235405"/>
                    <a:pt x="69494" y="230428"/>
                  </a:cubicBezTo>
                  <a:lnTo>
                    <a:pt x="65837" y="204825"/>
                  </a:lnTo>
                  <a:cubicBezTo>
                    <a:pt x="67056" y="154838"/>
                    <a:pt x="66014" y="104745"/>
                    <a:pt x="69494" y="54864"/>
                  </a:cubicBezTo>
                  <a:cubicBezTo>
                    <a:pt x="69734" y="51424"/>
                    <a:pt x="74050" y="49617"/>
                    <a:pt x="76809" y="47548"/>
                  </a:cubicBezTo>
                  <a:cubicBezTo>
                    <a:pt x="83842" y="42273"/>
                    <a:pt x="91440" y="37795"/>
                    <a:pt x="98755" y="32918"/>
                  </a:cubicBezTo>
                  <a:cubicBezTo>
                    <a:pt x="102413" y="30480"/>
                    <a:pt x="105558" y="26993"/>
                    <a:pt x="109728" y="25603"/>
                  </a:cubicBezTo>
                  <a:cubicBezTo>
                    <a:pt x="113386" y="24384"/>
                    <a:pt x="117253" y="23669"/>
                    <a:pt x="120701" y="21945"/>
                  </a:cubicBezTo>
                  <a:cubicBezTo>
                    <a:pt x="142069" y="11261"/>
                    <a:pt x="121198" y="17100"/>
                    <a:pt x="142646" y="10972"/>
                  </a:cubicBezTo>
                  <a:cubicBezTo>
                    <a:pt x="147480" y="9591"/>
                    <a:pt x="152462" y="8759"/>
                    <a:pt x="157277" y="7315"/>
                  </a:cubicBezTo>
                  <a:cubicBezTo>
                    <a:pt x="164663" y="5099"/>
                    <a:pt x="179222" y="0"/>
                    <a:pt x="179222" y="0"/>
                  </a:cubicBezTo>
                  <a:cubicBezTo>
                    <a:pt x="209702" y="1219"/>
                    <a:pt x="240309" y="622"/>
                    <a:pt x="270662" y="3657"/>
                  </a:cubicBezTo>
                  <a:cubicBezTo>
                    <a:pt x="277195" y="4310"/>
                    <a:pt x="282721" y="8896"/>
                    <a:pt x="288950" y="10972"/>
                  </a:cubicBezTo>
                  <a:cubicBezTo>
                    <a:pt x="293719" y="12562"/>
                    <a:pt x="298874" y="12865"/>
                    <a:pt x="303581" y="14630"/>
                  </a:cubicBezTo>
                  <a:cubicBezTo>
                    <a:pt x="319841" y="20727"/>
                    <a:pt x="314325" y="22301"/>
                    <a:pt x="329184" y="25603"/>
                  </a:cubicBezTo>
                  <a:cubicBezTo>
                    <a:pt x="336423" y="27212"/>
                    <a:pt x="343814" y="28041"/>
                    <a:pt x="351129" y="29260"/>
                  </a:cubicBezTo>
                  <a:cubicBezTo>
                    <a:pt x="376859" y="37837"/>
                    <a:pt x="345100" y="26675"/>
                    <a:pt x="376733" y="40233"/>
                  </a:cubicBezTo>
                  <a:cubicBezTo>
                    <a:pt x="386306" y="44336"/>
                    <a:pt x="392008" y="44450"/>
                    <a:pt x="402336" y="47548"/>
                  </a:cubicBezTo>
                  <a:cubicBezTo>
                    <a:pt x="409722" y="49764"/>
                    <a:pt x="416966" y="52426"/>
                    <a:pt x="424281" y="54864"/>
                  </a:cubicBezTo>
                  <a:cubicBezTo>
                    <a:pt x="427939" y="56083"/>
                    <a:pt x="431443" y="57935"/>
                    <a:pt x="435254" y="58521"/>
                  </a:cubicBezTo>
                  <a:lnTo>
                    <a:pt x="482803" y="65836"/>
                  </a:lnTo>
                  <a:cubicBezTo>
                    <a:pt x="502278" y="68522"/>
                    <a:pt x="521863" y="70372"/>
                    <a:pt x="541325" y="73152"/>
                  </a:cubicBezTo>
                  <a:cubicBezTo>
                    <a:pt x="547479" y="74031"/>
                    <a:pt x="553582" y="75301"/>
                    <a:pt x="559613" y="76809"/>
                  </a:cubicBezTo>
                  <a:cubicBezTo>
                    <a:pt x="580527" y="82037"/>
                    <a:pt x="560100" y="79558"/>
                    <a:pt x="585216" y="84124"/>
                  </a:cubicBezTo>
                  <a:cubicBezTo>
                    <a:pt x="593698" y="85666"/>
                    <a:pt x="602337" y="86240"/>
                    <a:pt x="610819" y="87782"/>
                  </a:cubicBezTo>
                  <a:cubicBezTo>
                    <a:pt x="615765" y="88681"/>
                    <a:pt x="620616" y="90059"/>
                    <a:pt x="625449" y="91440"/>
                  </a:cubicBezTo>
                  <a:cubicBezTo>
                    <a:pt x="629156" y="92499"/>
                    <a:pt x="632600" y="94587"/>
                    <a:pt x="636422" y="95097"/>
                  </a:cubicBezTo>
                  <a:cubicBezTo>
                    <a:pt x="650974" y="97037"/>
                    <a:pt x="665683" y="97536"/>
                    <a:pt x="680313" y="98755"/>
                  </a:cubicBezTo>
                  <a:cubicBezTo>
                    <a:pt x="813505" y="87655"/>
                    <a:pt x="642832" y="100888"/>
                    <a:pt x="954633" y="91440"/>
                  </a:cubicBezTo>
                  <a:cubicBezTo>
                    <a:pt x="958487" y="91323"/>
                    <a:pt x="961789" y="88327"/>
                    <a:pt x="965606" y="87782"/>
                  </a:cubicBezTo>
                  <a:cubicBezTo>
                    <a:pt x="987465" y="84659"/>
                    <a:pt x="1031443" y="80467"/>
                    <a:pt x="1031443" y="80467"/>
                  </a:cubicBezTo>
                  <a:lnTo>
                    <a:pt x="1064361" y="69494"/>
                  </a:lnTo>
                  <a:cubicBezTo>
                    <a:pt x="1068019" y="68275"/>
                    <a:pt x="1071885" y="67560"/>
                    <a:pt x="1075334" y="65836"/>
                  </a:cubicBezTo>
                  <a:cubicBezTo>
                    <a:pt x="1080211" y="63398"/>
                    <a:pt x="1084792" y="60245"/>
                    <a:pt x="1089965" y="58521"/>
                  </a:cubicBezTo>
                  <a:cubicBezTo>
                    <a:pt x="1095863" y="56555"/>
                    <a:pt x="1102222" y="56372"/>
                    <a:pt x="1108253" y="54864"/>
                  </a:cubicBezTo>
                  <a:cubicBezTo>
                    <a:pt x="1111993" y="53929"/>
                    <a:pt x="1115568" y="52425"/>
                    <a:pt x="1119225" y="51206"/>
                  </a:cubicBezTo>
                  <a:cubicBezTo>
                    <a:pt x="1192528" y="62780"/>
                    <a:pt x="1166471" y="54764"/>
                    <a:pt x="1199693" y="65836"/>
                  </a:cubicBezTo>
                  <a:cubicBezTo>
                    <a:pt x="1206401" y="72545"/>
                    <a:pt x="1212940" y="79775"/>
                    <a:pt x="1221638" y="84124"/>
                  </a:cubicBezTo>
                  <a:cubicBezTo>
                    <a:pt x="1226134" y="86372"/>
                    <a:pt x="1231392" y="86563"/>
                    <a:pt x="1236269" y="87782"/>
                  </a:cubicBezTo>
                  <a:cubicBezTo>
                    <a:pt x="1254556" y="99974"/>
                    <a:pt x="1244803" y="91440"/>
                    <a:pt x="1261872" y="117043"/>
                  </a:cubicBezTo>
                  <a:cubicBezTo>
                    <a:pt x="1264310" y="120701"/>
                    <a:pt x="1265529" y="125578"/>
                    <a:pt x="1269187" y="128016"/>
                  </a:cubicBezTo>
                  <a:lnTo>
                    <a:pt x="1280160" y="135331"/>
                  </a:lnTo>
                  <a:cubicBezTo>
                    <a:pt x="1282598" y="138989"/>
                    <a:pt x="1285509" y="142372"/>
                    <a:pt x="1287475" y="146304"/>
                  </a:cubicBezTo>
                  <a:cubicBezTo>
                    <a:pt x="1289199" y="149752"/>
                    <a:pt x="1289149" y="153970"/>
                    <a:pt x="1291133" y="157276"/>
                  </a:cubicBezTo>
                  <a:cubicBezTo>
                    <a:pt x="1304155" y="178979"/>
                    <a:pt x="1293222" y="147346"/>
                    <a:pt x="1305763" y="175564"/>
                  </a:cubicBezTo>
                  <a:cubicBezTo>
                    <a:pt x="1308895" y="182610"/>
                    <a:pt x="1310640" y="190195"/>
                    <a:pt x="1313078" y="197510"/>
                  </a:cubicBezTo>
                  <a:lnTo>
                    <a:pt x="1316736" y="208483"/>
                  </a:lnTo>
                  <a:lnTo>
                    <a:pt x="1320393" y="219456"/>
                  </a:lnTo>
                  <a:cubicBezTo>
                    <a:pt x="1321612" y="260909"/>
                    <a:pt x="1320699" y="302479"/>
                    <a:pt x="1324051" y="343814"/>
                  </a:cubicBezTo>
                  <a:cubicBezTo>
                    <a:pt x="1324406" y="348196"/>
                    <a:pt x="1329185" y="350970"/>
                    <a:pt x="1331366" y="354787"/>
                  </a:cubicBezTo>
                  <a:cubicBezTo>
                    <a:pt x="1334071" y="359521"/>
                    <a:pt x="1335410" y="365055"/>
                    <a:pt x="1338681" y="369417"/>
                  </a:cubicBezTo>
                  <a:cubicBezTo>
                    <a:pt x="1348797" y="382904"/>
                    <a:pt x="1355594" y="384730"/>
                    <a:pt x="1367942" y="395020"/>
                  </a:cubicBezTo>
                  <a:cubicBezTo>
                    <a:pt x="1370591" y="397228"/>
                    <a:pt x="1372564" y="400182"/>
                    <a:pt x="1375257" y="402336"/>
                  </a:cubicBezTo>
                  <a:cubicBezTo>
                    <a:pt x="1378690" y="405082"/>
                    <a:pt x="1382944" y="406731"/>
                    <a:pt x="1386230" y="409651"/>
                  </a:cubicBezTo>
                  <a:cubicBezTo>
                    <a:pt x="1393962" y="416524"/>
                    <a:pt x="1408176" y="431596"/>
                    <a:pt x="1408176" y="431596"/>
                  </a:cubicBezTo>
                  <a:cubicBezTo>
                    <a:pt x="1417215" y="458715"/>
                    <a:pt x="1412043" y="446645"/>
                    <a:pt x="1422806" y="468172"/>
                  </a:cubicBezTo>
                  <a:cubicBezTo>
                    <a:pt x="1429896" y="503616"/>
                    <a:pt x="1428116" y="486574"/>
                    <a:pt x="1422806" y="544982"/>
                  </a:cubicBezTo>
                  <a:cubicBezTo>
                    <a:pt x="1420731" y="567808"/>
                    <a:pt x="1421897" y="562806"/>
                    <a:pt x="1411833" y="577900"/>
                  </a:cubicBezTo>
                  <a:cubicBezTo>
                    <a:pt x="1405406" y="597184"/>
                    <a:pt x="1412424" y="581580"/>
                    <a:pt x="1397203" y="599846"/>
                  </a:cubicBezTo>
                  <a:cubicBezTo>
                    <a:pt x="1381963" y="618134"/>
                    <a:pt x="1399032" y="604723"/>
                    <a:pt x="1378915" y="618134"/>
                  </a:cubicBezTo>
                  <a:cubicBezTo>
                    <a:pt x="1375249" y="629130"/>
                    <a:pt x="1375819" y="630628"/>
                    <a:pt x="1367942" y="640080"/>
                  </a:cubicBezTo>
                  <a:cubicBezTo>
                    <a:pt x="1364631" y="644054"/>
                    <a:pt x="1360280" y="647078"/>
                    <a:pt x="1356969" y="651052"/>
                  </a:cubicBezTo>
                  <a:cubicBezTo>
                    <a:pt x="1354155" y="654429"/>
                    <a:pt x="1352209" y="658448"/>
                    <a:pt x="1349654" y="662025"/>
                  </a:cubicBezTo>
                  <a:cubicBezTo>
                    <a:pt x="1326958" y="693800"/>
                    <a:pt x="1348614" y="661758"/>
                    <a:pt x="1331366" y="687628"/>
                  </a:cubicBezTo>
                  <a:cubicBezTo>
                    <a:pt x="1330147" y="692505"/>
                    <a:pt x="1329090" y="697425"/>
                    <a:pt x="1327709" y="702259"/>
                  </a:cubicBezTo>
                  <a:cubicBezTo>
                    <a:pt x="1324779" y="712515"/>
                    <a:pt x="1322308" y="718111"/>
                    <a:pt x="1316736" y="727862"/>
                  </a:cubicBezTo>
                  <a:cubicBezTo>
                    <a:pt x="1314555" y="731679"/>
                    <a:pt x="1312235" y="735458"/>
                    <a:pt x="1309421" y="738835"/>
                  </a:cubicBezTo>
                  <a:cubicBezTo>
                    <a:pt x="1302268" y="747418"/>
                    <a:pt x="1294984" y="754078"/>
                    <a:pt x="1283817" y="757123"/>
                  </a:cubicBezTo>
                  <a:cubicBezTo>
                    <a:pt x="1275500" y="759391"/>
                    <a:pt x="1266826" y="760389"/>
                    <a:pt x="1258214" y="760780"/>
                  </a:cubicBezTo>
                  <a:cubicBezTo>
                    <a:pt x="1213134" y="762829"/>
                    <a:pt x="1167993" y="763219"/>
                    <a:pt x="1122883" y="764438"/>
                  </a:cubicBezTo>
                  <a:cubicBezTo>
                    <a:pt x="1115568" y="766876"/>
                    <a:pt x="1107353" y="767476"/>
                    <a:pt x="1100937" y="771753"/>
                  </a:cubicBezTo>
                  <a:cubicBezTo>
                    <a:pt x="1097280" y="774191"/>
                    <a:pt x="1093982" y="777283"/>
                    <a:pt x="1089965" y="779068"/>
                  </a:cubicBezTo>
                  <a:cubicBezTo>
                    <a:pt x="1078450" y="784186"/>
                    <a:pt x="1062416" y="788229"/>
                    <a:pt x="1049731" y="790041"/>
                  </a:cubicBezTo>
                  <a:cubicBezTo>
                    <a:pt x="1047317" y="790386"/>
                    <a:pt x="1055827" y="786993"/>
                    <a:pt x="1057046" y="786384"/>
                  </a:cubicBezTo>
                  <a:close/>
                </a:path>
              </a:pathLst>
            </a:custGeom>
            <a:solidFill>
              <a:schemeClr val="bg2">
                <a:lumMod val="50000"/>
                <a:alpha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28" name="Скругленный прямоугольник 27"/>
            <p:cNvSpPr/>
            <p:nvPr/>
          </p:nvSpPr>
          <p:spPr>
            <a:xfrm>
              <a:off x="892813" y="5041914"/>
              <a:ext cx="360382" cy="434935"/>
            </a:xfrm>
            <a:prstGeom prst="round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/>
              <a:r>
                <a:rPr lang="en-US" sz="20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V</a:t>
              </a:r>
              <a:endPara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9" name="Полилиния 28"/>
            <p:cNvSpPr/>
            <p:nvPr/>
          </p:nvSpPr>
          <p:spPr>
            <a:xfrm rot="21376227">
              <a:off x="2811910" y="4722983"/>
              <a:ext cx="717221" cy="1545087"/>
            </a:xfrm>
            <a:custGeom>
              <a:avLst/>
              <a:gdLst>
                <a:gd name="connsiteX0" fmla="*/ 182880 w 1170517"/>
                <a:gd name="connsiteY0" fmla="*/ 1148487 h 1192378"/>
                <a:gd name="connsiteX1" fmla="*/ 182880 w 1170517"/>
                <a:gd name="connsiteY1" fmla="*/ 1148487 h 1192378"/>
                <a:gd name="connsiteX2" fmla="*/ 190196 w 1170517"/>
                <a:gd name="connsiteY2" fmla="*/ 1115568 h 1192378"/>
                <a:gd name="connsiteX3" fmla="*/ 197511 w 1170517"/>
                <a:gd name="connsiteY3" fmla="*/ 1093623 h 1192378"/>
                <a:gd name="connsiteX4" fmla="*/ 190196 w 1170517"/>
                <a:gd name="connsiteY4" fmla="*/ 1057047 h 1192378"/>
                <a:gd name="connsiteX5" fmla="*/ 186538 w 1170517"/>
                <a:gd name="connsiteY5" fmla="*/ 1038759 h 1192378"/>
                <a:gd name="connsiteX6" fmla="*/ 179223 w 1170517"/>
                <a:gd name="connsiteY6" fmla="*/ 1016813 h 1192378"/>
                <a:gd name="connsiteX7" fmla="*/ 171908 w 1170517"/>
                <a:gd name="connsiteY7" fmla="*/ 991210 h 1192378"/>
                <a:gd name="connsiteX8" fmla="*/ 142647 w 1170517"/>
                <a:gd name="connsiteY8" fmla="*/ 976580 h 1192378"/>
                <a:gd name="connsiteX9" fmla="*/ 58522 w 1170517"/>
                <a:gd name="connsiteY9" fmla="*/ 972922 h 1192378"/>
                <a:gd name="connsiteX10" fmla="*/ 51207 w 1170517"/>
                <a:gd name="connsiteY10" fmla="*/ 961949 h 1192378"/>
                <a:gd name="connsiteX11" fmla="*/ 51207 w 1170517"/>
                <a:gd name="connsiteY11" fmla="*/ 885140 h 1192378"/>
                <a:gd name="connsiteX12" fmla="*/ 73152 w 1170517"/>
                <a:gd name="connsiteY12" fmla="*/ 870509 h 1192378"/>
                <a:gd name="connsiteX13" fmla="*/ 84125 w 1170517"/>
                <a:gd name="connsiteY13" fmla="*/ 863194 h 1192378"/>
                <a:gd name="connsiteX14" fmla="*/ 98756 w 1170517"/>
                <a:gd name="connsiteY14" fmla="*/ 793700 h 1192378"/>
                <a:gd name="connsiteX15" fmla="*/ 106071 w 1170517"/>
                <a:gd name="connsiteY15" fmla="*/ 720548 h 1192378"/>
                <a:gd name="connsiteX16" fmla="*/ 113386 w 1170517"/>
                <a:gd name="connsiteY16" fmla="*/ 709575 h 1192378"/>
                <a:gd name="connsiteX17" fmla="*/ 109728 w 1170517"/>
                <a:gd name="connsiteY17" fmla="*/ 651053 h 1192378"/>
                <a:gd name="connsiteX18" fmla="*/ 102413 w 1170517"/>
                <a:gd name="connsiteY18" fmla="*/ 629108 h 1192378"/>
                <a:gd name="connsiteX19" fmla="*/ 95098 w 1170517"/>
                <a:gd name="connsiteY19" fmla="*/ 621792 h 1192378"/>
                <a:gd name="connsiteX20" fmla="*/ 76810 w 1170517"/>
                <a:gd name="connsiteY20" fmla="*/ 607162 h 1192378"/>
                <a:gd name="connsiteX21" fmla="*/ 58522 w 1170517"/>
                <a:gd name="connsiteY21" fmla="*/ 585216 h 1192378"/>
                <a:gd name="connsiteX22" fmla="*/ 47549 w 1170517"/>
                <a:gd name="connsiteY22" fmla="*/ 563271 h 1192378"/>
                <a:gd name="connsiteX23" fmla="*/ 43892 w 1170517"/>
                <a:gd name="connsiteY23" fmla="*/ 548640 h 1192378"/>
                <a:gd name="connsiteX24" fmla="*/ 36576 w 1170517"/>
                <a:gd name="connsiteY24" fmla="*/ 541325 h 1192378"/>
                <a:gd name="connsiteX25" fmla="*/ 32919 w 1170517"/>
                <a:gd name="connsiteY25" fmla="*/ 530352 h 1192378"/>
                <a:gd name="connsiteX26" fmla="*/ 25604 w 1170517"/>
                <a:gd name="connsiteY26" fmla="*/ 519380 h 1192378"/>
                <a:gd name="connsiteX27" fmla="*/ 10973 w 1170517"/>
                <a:gd name="connsiteY27" fmla="*/ 486461 h 1192378"/>
                <a:gd name="connsiteX28" fmla="*/ 3658 w 1170517"/>
                <a:gd name="connsiteY28" fmla="*/ 464516 h 1192378"/>
                <a:gd name="connsiteX29" fmla="*/ 0 w 1170517"/>
                <a:gd name="connsiteY29" fmla="*/ 453543 h 1192378"/>
                <a:gd name="connsiteX30" fmla="*/ 3658 w 1170517"/>
                <a:gd name="connsiteY30" fmla="*/ 354788 h 1192378"/>
                <a:gd name="connsiteX31" fmla="*/ 10973 w 1170517"/>
                <a:gd name="connsiteY31" fmla="*/ 340157 h 1192378"/>
                <a:gd name="connsiteX32" fmla="*/ 18288 w 1170517"/>
                <a:gd name="connsiteY32" fmla="*/ 318212 h 1192378"/>
                <a:gd name="connsiteX33" fmla="*/ 21946 w 1170517"/>
                <a:gd name="connsiteY33" fmla="*/ 307239 h 1192378"/>
                <a:gd name="connsiteX34" fmla="*/ 25604 w 1170517"/>
                <a:gd name="connsiteY34" fmla="*/ 296266 h 1192378"/>
                <a:gd name="connsiteX35" fmla="*/ 32919 w 1170517"/>
                <a:gd name="connsiteY35" fmla="*/ 248717 h 1192378"/>
                <a:gd name="connsiteX36" fmla="*/ 36576 w 1170517"/>
                <a:gd name="connsiteY36" fmla="*/ 204826 h 1192378"/>
                <a:gd name="connsiteX37" fmla="*/ 40234 w 1170517"/>
                <a:gd name="connsiteY37" fmla="*/ 193853 h 1192378"/>
                <a:gd name="connsiteX38" fmla="*/ 51207 w 1170517"/>
                <a:gd name="connsiteY38" fmla="*/ 157277 h 1192378"/>
                <a:gd name="connsiteX39" fmla="*/ 58522 w 1170517"/>
                <a:gd name="connsiteY39" fmla="*/ 135332 h 1192378"/>
                <a:gd name="connsiteX40" fmla="*/ 62180 w 1170517"/>
                <a:gd name="connsiteY40" fmla="*/ 124359 h 1192378"/>
                <a:gd name="connsiteX41" fmla="*/ 69495 w 1170517"/>
                <a:gd name="connsiteY41" fmla="*/ 113386 h 1192378"/>
                <a:gd name="connsiteX42" fmla="*/ 84125 w 1170517"/>
                <a:gd name="connsiteY42" fmla="*/ 73152 h 1192378"/>
                <a:gd name="connsiteX43" fmla="*/ 87783 w 1170517"/>
                <a:gd name="connsiteY43" fmla="*/ 62180 h 1192378"/>
                <a:gd name="connsiteX44" fmla="*/ 95098 w 1170517"/>
                <a:gd name="connsiteY44" fmla="*/ 54864 h 1192378"/>
                <a:gd name="connsiteX45" fmla="*/ 106071 w 1170517"/>
                <a:gd name="connsiteY45" fmla="*/ 29261 h 1192378"/>
                <a:gd name="connsiteX46" fmla="*/ 117044 w 1170517"/>
                <a:gd name="connsiteY46" fmla="*/ 25604 h 1192378"/>
                <a:gd name="connsiteX47" fmla="*/ 124359 w 1170517"/>
                <a:gd name="connsiteY47" fmla="*/ 14631 h 1192378"/>
                <a:gd name="connsiteX48" fmla="*/ 146304 w 1170517"/>
                <a:gd name="connsiteY48" fmla="*/ 7316 h 1192378"/>
                <a:gd name="connsiteX49" fmla="*/ 171908 w 1170517"/>
                <a:gd name="connsiteY49" fmla="*/ 0 h 1192378"/>
                <a:gd name="connsiteX50" fmla="*/ 226772 w 1170517"/>
                <a:gd name="connsiteY50" fmla="*/ 7316 h 1192378"/>
                <a:gd name="connsiteX51" fmla="*/ 248717 w 1170517"/>
                <a:gd name="connsiteY51" fmla="*/ 14631 h 1192378"/>
                <a:gd name="connsiteX52" fmla="*/ 267005 w 1170517"/>
                <a:gd name="connsiteY52" fmla="*/ 29261 h 1192378"/>
                <a:gd name="connsiteX53" fmla="*/ 274320 w 1170517"/>
                <a:gd name="connsiteY53" fmla="*/ 40234 h 1192378"/>
                <a:gd name="connsiteX54" fmla="*/ 292608 w 1170517"/>
                <a:gd name="connsiteY54" fmla="*/ 58522 h 1192378"/>
                <a:gd name="connsiteX55" fmla="*/ 310896 w 1170517"/>
                <a:gd name="connsiteY55" fmla="*/ 76810 h 1192378"/>
                <a:gd name="connsiteX56" fmla="*/ 318212 w 1170517"/>
                <a:gd name="connsiteY56" fmla="*/ 84125 h 1192378"/>
                <a:gd name="connsiteX57" fmla="*/ 332842 w 1170517"/>
                <a:gd name="connsiteY57" fmla="*/ 106071 h 1192378"/>
                <a:gd name="connsiteX58" fmla="*/ 351130 w 1170517"/>
                <a:gd name="connsiteY58" fmla="*/ 124359 h 1192378"/>
                <a:gd name="connsiteX59" fmla="*/ 354788 w 1170517"/>
                <a:gd name="connsiteY59" fmla="*/ 135332 h 1192378"/>
                <a:gd name="connsiteX60" fmla="*/ 387706 w 1170517"/>
                <a:gd name="connsiteY60" fmla="*/ 149962 h 1192378"/>
                <a:gd name="connsiteX61" fmla="*/ 398679 w 1170517"/>
                <a:gd name="connsiteY61" fmla="*/ 157277 h 1192378"/>
                <a:gd name="connsiteX62" fmla="*/ 424282 w 1170517"/>
                <a:gd name="connsiteY62" fmla="*/ 164592 h 1192378"/>
                <a:gd name="connsiteX63" fmla="*/ 449885 w 1170517"/>
                <a:gd name="connsiteY63" fmla="*/ 175565 h 1192378"/>
                <a:gd name="connsiteX64" fmla="*/ 468173 w 1170517"/>
                <a:gd name="connsiteY64" fmla="*/ 190196 h 1192378"/>
                <a:gd name="connsiteX65" fmla="*/ 493776 w 1170517"/>
                <a:gd name="connsiteY65" fmla="*/ 197511 h 1192378"/>
                <a:gd name="connsiteX66" fmla="*/ 515722 w 1170517"/>
                <a:gd name="connsiteY66" fmla="*/ 204826 h 1192378"/>
                <a:gd name="connsiteX67" fmla="*/ 537668 w 1170517"/>
                <a:gd name="connsiteY67" fmla="*/ 212141 h 1192378"/>
                <a:gd name="connsiteX68" fmla="*/ 548640 w 1170517"/>
                <a:gd name="connsiteY68" fmla="*/ 215799 h 1192378"/>
                <a:gd name="connsiteX69" fmla="*/ 577901 w 1170517"/>
                <a:gd name="connsiteY69" fmla="*/ 219456 h 1192378"/>
                <a:gd name="connsiteX70" fmla="*/ 588874 w 1170517"/>
                <a:gd name="connsiteY70" fmla="*/ 223114 h 1192378"/>
                <a:gd name="connsiteX71" fmla="*/ 599847 w 1170517"/>
                <a:gd name="connsiteY71" fmla="*/ 230429 h 1192378"/>
                <a:gd name="connsiteX72" fmla="*/ 618135 w 1170517"/>
                <a:gd name="connsiteY72" fmla="*/ 234087 h 1192378"/>
                <a:gd name="connsiteX73" fmla="*/ 629108 w 1170517"/>
                <a:gd name="connsiteY73" fmla="*/ 237744 h 1192378"/>
                <a:gd name="connsiteX74" fmla="*/ 643738 w 1170517"/>
                <a:gd name="connsiteY74" fmla="*/ 241402 h 1192378"/>
                <a:gd name="connsiteX75" fmla="*/ 654711 w 1170517"/>
                <a:gd name="connsiteY75" fmla="*/ 245060 h 1192378"/>
                <a:gd name="connsiteX76" fmla="*/ 687629 w 1170517"/>
                <a:gd name="connsiteY76" fmla="*/ 248717 h 1192378"/>
                <a:gd name="connsiteX77" fmla="*/ 724205 w 1170517"/>
                <a:gd name="connsiteY77" fmla="*/ 259690 h 1192378"/>
                <a:gd name="connsiteX78" fmla="*/ 735178 w 1170517"/>
                <a:gd name="connsiteY78" fmla="*/ 267005 h 1192378"/>
                <a:gd name="connsiteX79" fmla="*/ 746151 w 1170517"/>
                <a:gd name="connsiteY79" fmla="*/ 281636 h 1192378"/>
                <a:gd name="connsiteX80" fmla="*/ 749808 w 1170517"/>
                <a:gd name="connsiteY80" fmla="*/ 292608 h 1192378"/>
                <a:gd name="connsiteX81" fmla="*/ 757124 w 1170517"/>
                <a:gd name="connsiteY81" fmla="*/ 303581 h 1192378"/>
                <a:gd name="connsiteX82" fmla="*/ 764439 w 1170517"/>
                <a:gd name="connsiteY82" fmla="*/ 351130 h 1192378"/>
                <a:gd name="connsiteX83" fmla="*/ 775412 w 1170517"/>
                <a:gd name="connsiteY83" fmla="*/ 376733 h 1192378"/>
                <a:gd name="connsiteX84" fmla="*/ 797357 w 1170517"/>
                <a:gd name="connsiteY84" fmla="*/ 413309 h 1192378"/>
                <a:gd name="connsiteX85" fmla="*/ 811988 w 1170517"/>
                <a:gd name="connsiteY85" fmla="*/ 435255 h 1192378"/>
                <a:gd name="connsiteX86" fmla="*/ 819303 w 1170517"/>
                <a:gd name="connsiteY86" fmla="*/ 449885 h 1192378"/>
                <a:gd name="connsiteX87" fmla="*/ 830276 w 1170517"/>
                <a:gd name="connsiteY87" fmla="*/ 457200 h 1192378"/>
                <a:gd name="connsiteX88" fmla="*/ 837591 w 1170517"/>
                <a:gd name="connsiteY88" fmla="*/ 464516 h 1192378"/>
                <a:gd name="connsiteX89" fmla="*/ 844906 w 1170517"/>
                <a:gd name="connsiteY89" fmla="*/ 493776 h 1192378"/>
                <a:gd name="connsiteX90" fmla="*/ 863194 w 1170517"/>
                <a:gd name="connsiteY90" fmla="*/ 515722 h 1192378"/>
                <a:gd name="connsiteX91" fmla="*/ 874167 w 1170517"/>
                <a:gd name="connsiteY91" fmla="*/ 523037 h 1192378"/>
                <a:gd name="connsiteX92" fmla="*/ 885140 w 1170517"/>
                <a:gd name="connsiteY92" fmla="*/ 526695 h 1192378"/>
                <a:gd name="connsiteX93" fmla="*/ 925373 w 1170517"/>
                <a:gd name="connsiteY93" fmla="*/ 523037 h 1192378"/>
                <a:gd name="connsiteX94" fmla="*/ 969264 w 1170517"/>
                <a:gd name="connsiteY94" fmla="*/ 515722 h 1192378"/>
                <a:gd name="connsiteX95" fmla="*/ 991210 w 1170517"/>
                <a:gd name="connsiteY95" fmla="*/ 530352 h 1192378"/>
                <a:gd name="connsiteX96" fmla="*/ 998525 w 1170517"/>
                <a:gd name="connsiteY96" fmla="*/ 541325 h 1192378"/>
                <a:gd name="connsiteX97" fmla="*/ 1020471 w 1170517"/>
                <a:gd name="connsiteY97" fmla="*/ 555956 h 1192378"/>
                <a:gd name="connsiteX98" fmla="*/ 1031444 w 1170517"/>
                <a:gd name="connsiteY98" fmla="*/ 563271 h 1192378"/>
                <a:gd name="connsiteX99" fmla="*/ 1038759 w 1170517"/>
                <a:gd name="connsiteY99" fmla="*/ 574244 h 1192378"/>
                <a:gd name="connsiteX100" fmla="*/ 1049732 w 1170517"/>
                <a:gd name="connsiteY100" fmla="*/ 581559 h 1192378"/>
                <a:gd name="connsiteX101" fmla="*/ 1053389 w 1170517"/>
                <a:gd name="connsiteY101" fmla="*/ 592532 h 1192378"/>
                <a:gd name="connsiteX102" fmla="*/ 1064362 w 1170517"/>
                <a:gd name="connsiteY102" fmla="*/ 599847 h 1192378"/>
                <a:gd name="connsiteX103" fmla="*/ 1075335 w 1170517"/>
                <a:gd name="connsiteY103" fmla="*/ 610820 h 1192378"/>
                <a:gd name="connsiteX104" fmla="*/ 1093623 w 1170517"/>
                <a:gd name="connsiteY104" fmla="*/ 640080 h 1192378"/>
                <a:gd name="connsiteX105" fmla="*/ 1100938 w 1170517"/>
                <a:gd name="connsiteY105" fmla="*/ 651053 h 1192378"/>
                <a:gd name="connsiteX106" fmla="*/ 1104596 w 1170517"/>
                <a:gd name="connsiteY106" fmla="*/ 662026 h 1192378"/>
                <a:gd name="connsiteX107" fmla="*/ 1119226 w 1170517"/>
                <a:gd name="connsiteY107" fmla="*/ 683972 h 1192378"/>
                <a:gd name="connsiteX108" fmla="*/ 1122884 w 1170517"/>
                <a:gd name="connsiteY108" fmla="*/ 698602 h 1192378"/>
                <a:gd name="connsiteX109" fmla="*/ 1115568 w 1170517"/>
                <a:gd name="connsiteY109" fmla="*/ 720548 h 1192378"/>
                <a:gd name="connsiteX110" fmla="*/ 1122884 w 1170517"/>
                <a:gd name="connsiteY110" fmla="*/ 731520 h 1192378"/>
                <a:gd name="connsiteX111" fmla="*/ 1130199 w 1170517"/>
                <a:gd name="connsiteY111" fmla="*/ 746151 h 1192378"/>
                <a:gd name="connsiteX112" fmla="*/ 1144829 w 1170517"/>
                <a:gd name="connsiteY112" fmla="*/ 757124 h 1192378"/>
                <a:gd name="connsiteX113" fmla="*/ 1148487 w 1170517"/>
                <a:gd name="connsiteY113" fmla="*/ 790042 h 1192378"/>
                <a:gd name="connsiteX114" fmla="*/ 1155802 w 1170517"/>
                <a:gd name="connsiteY114" fmla="*/ 801015 h 1192378"/>
                <a:gd name="connsiteX115" fmla="*/ 1166775 w 1170517"/>
                <a:gd name="connsiteY115" fmla="*/ 833933 h 1192378"/>
                <a:gd name="connsiteX116" fmla="*/ 1170432 w 1170517"/>
                <a:gd name="connsiteY116" fmla="*/ 844906 h 1192378"/>
                <a:gd name="connsiteX117" fmla="*/ 1163117 w 1170517"/>
                <a:gd name="connsiteY117" fmla="*/ 855879 h 1192378"/>
                <a:gd name="connsiteX118" fmla="*/ 1141172 w 1170517"/>
                <a:gd name="connsiteY118" fmla="*/ 888797 h 1192378"/>
                <a:gd name="connsiteX119" fmla="*/ 1119226 w 1170517"/>
                <a:gd name="connsiteY119" fmla="*/ 896112 h 1192378"/>
                <a:gd name="connsiteX120" fmla="*/ 1100938 w 1170517"/>
                <a:gd name="connsiteY120" fmla="*/ 907085 h 1192378"/>
                <a:gd name="connsiteX121" fmla="*/ 1086308 w 1170517"/>
                <a:gd name="connsiteY121" fmla="*/ 918058 h 1192378"/>
                <a:gd name="connsiteX122" fmla="*/ 1078992 w 1170517"/>
                <a:gd name="connsiteY122" fmla="*/ 925373 h 1192378"/>
                <a:gd name="connsiteX123" fmla="*/ 1057047 w 1170517"/>
                <a:gd name="connsiteY123" fmla="*/ 932688 h 1192378"/>
                <a:gd name="connsiteX124" fmla="*/ 1038759 w 1170517"/>
                <a:gd name="connsiteY124" fmla="*/ 943661 h 1192378"/>
                <a:gd name="connsiteX125" fmla="*/ 1027786 w 1170517"/>
                <a:gd name="connsiteY125" fmla="*/ 950976 h 1192378"/>
                <a:gd name="connsiteX126" fmla="*/ 1013156 w 1170517"/>
                <a:gd name="connsiteY126" fmla="*/ 958292 h 1192378"/>
                <a:gd name="connsiteX127" fmla="*/ 1002183 w 1170517"/>
                <a:gd name="connsiteY127" fmla="*/ 965607 h 1192378"/>
                <a:gd name="connsiteX128" fmla="*/ 987552 w 1170517"/>
                <a:gd name="connsiteY128" fmla="*/ 969264 h 1192378"/>
                <a:gd name="connsiteX129" fmla="*/ 976580 w 1170517"/>
                <a:gd name="connsiteY129" fmla="*/ 976580 h 1192378"/>
                <a:gd name="connsiteX130" fmla="*/ 965607 w 1170517"/>
                <a:gd name="connsiteY130" fmla="*/ 980237 h 1192378"/>
                <a:gd name="connsiteX131" fmla="*/ 958292 w 1170517"/>
                <a:gd name="connsiteY131" fmla="*/ 991210 h 1192378"/>
                <a:gd name="connsiteX132" fmla="*/ 947319 w 1170517"/>
                <a:gd name="connsiteY132" fmla="*/ 998525 h 1192378"/>
                <a:gd name="connsiteX133" fmla="*/ 936346 w 1170517"/>
                <a:gd name="connsiteY133" fmla="*/ 1013156 h 1192378"/>
                <a:gd name="connsiteX134" fmla="*/ 925373 w 1170517"/>
                <a:gd name="connsiteY134" fmla="*/ 1020471 h 1192378"/>
                <a:gd name="connsiteX135" fmla="*/ 914400 w 1170517"/>
                <a:gd name="connsiteY135" fmla="*/ 1031444 h 1192378"/>
                <a:gd name="connsiteX136" fmla="*/ 903428 w 1170517"/>
                <a:gd name="connsiteY136" fmla="*/ 1038759 h 1192378"/>
                <a:gd name="connsiteX137" fmla="*/ 885140 w 1170517"/>
                <a:gd name="connsiteY137" fmla="*/ 1053389 h 1192378"/>
                <a:gd name="connsiteX138" fmla="*/ 863194 w 1170517"/>
                <a:gd name="connsiteY138" fmla="*/ 1060704 h 1192378"/>
                <a:gd name="connsiteX139" fmla="*/ 848564 w 1170517"/>
                <a:gd name="connsiteY139" fmla="*/ 1068020 h 1192378"/>
                <a:gd name="connsiteX140" fmla="*/ 822960 w 1170517"/>
                <a:gd name="connsiteY140" fmla="*/ 1075335 h 1192378"/>
                <a:gd name="connsiteX141" fmla="*/ 811988 w 1170517"/>
                <a:gd name="connsiteY141" fmla="*/ 1082650 h 1192378"/>
                <a:gd name="connsiteX142" fmla="*/ 790042 w 1170517"/>
                <a:gd name="connsiteY142" fmla="*/ 1089965 h 1192378"/>
                <a:gd name="connsiteX143" fmla="*/ 771754 w 1170517"/>
                <a:gd name="connsiteY143" fmla="*/ 1104596 h 1192378"/>
                <a:gd name="connsiteX144" fmla="*/ 760781 w 1170517"/>
                <a:gd name="connsiteY144" fmla="*/ 1111911 h 1192378"/>
                <a:gd name="connsiteX145" fmla="*/ 753466 w 1170517"/>
                <a:gd name="connsiteY145" fmla="*/ 1122884 h 1192378"/>
                <a:gd name="connsiteX146" fmla="*/ 742493 w 1170517"/>
                <a:gd name="connsiteY146" fmla="*/ 1126541 h 1192378"/>
                <a:gd name="connsiteX147" fmla="*/ 727863 w 1170517"/>
                <a:gd name="connsiteY147" fmla="*/ 1148487 h 1192378"/>
                <a:gd name="connsiteX148" fmla="*/ 705917 w 1170517"/>
                <a:gd name="connsiteY148" fmla="*/ 1163117 h 1192378"/>
                <a:gd name="connsiteX149" fmla="*/ 694944 w 1170517"/>
                <a:gd name="connsiteY149" fmla="*/ 1170432 h 1192378"/>
                <a:gd name="connsiteX150" fmla="*/ 687629 w 1170517"/>
                <a:gd name="connsiteY150" fmla="*/ 1177748 h 1192378"/>
                <a:gd name="connsiteX151" fmla="*/ 672999 w 1170517"/>
                <a:gd name="connsiteY151" fmla="*/ 1181405 h 1192378"/>
                <a:gd name="connsiteX152" fmla="*/ 607162 w 1170517"/>
                <a:gd name="connsiteY152" fmla="*/ 1192378 h 1192378"/>
                <a:gd name="connsiteX153" fmla="*/ 354788 w 1170517"/>
                <a:gd name="connsiteY153" fmla="*/ 1188720 h 1192378"/>
                <a:gd name="connsiteX154" fmla="*/ 343815 w 1170517"/>
                <a:gd name="connsiteY154" fmla="*/ 1185063 h 1192378"/>
                <a:gd name="connsiteX155" fmla="*/ 310896 w 1170517"/>
                <a:gd name="connsiteY155" fmla="*/ 1181405 h 1192378"/>
                <a:gd name="connsiteX156" fmla="*/ 285293 w 1170517"/>
                <a:gd name="connsiteY156" fmla="*/ 1177748 h 1192378"/>
                <a:gd name="connsiteX157" fmla="*/ 193853 w 1170517"/>
                <a:gd name="connsiteY157" fmla="*/ 1177748 h 1192378"/>
                <a:gd name="connsiteX158" fmla="*/ 182880 w 1170517"/>
                <a:gd name="connsiteY158" fmla="*/ 1148487 h 1192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1170517" h="1192378">
                  <a:moveTo>
                    <a:pt x="182880" y="1148487"/>
                  </a:moveTo>
                  <a:lnTo>
                    <a:pt x="182880" y="1148487"/>
                  </a:lnTo>
                  <a:cubicBezTo>
                    <a:pt x="185319" y="1137514"/>
                    <a:pt x="187300" y="1126429"/>
                    <a:pt x="190196" y="1115568"/>
                  </a:cubicBezTo>
                  <a:cubicBezTo>
                    <a:pt x="192183" y="1108118"/>
                    <a:pt x="197511" y="1093623"/>
                    <a:pt x="197511" y="1093623"/>
                  </a:cubicBezTo>
                  <a:cubicBezTo>
                    <a:pt x="188551" y="1030908"/>
                    <a:pt x="198706" y="1091089"/>
                    <a:pt x="190196" y="1057047"/>
                  </a:cubicBezTo>
                  <a:cubicBezTo>
                    <a:pt x="188688" y="1051016"/>
                    <a:pt x="188174" y="1044757"/>
                    <a:pt x="186538" y="1038759"/>
                  </a:cubicBezTo>
                  <a:cubicBezTo>
                    <a:pt x="184509" y="1031320"/>
                    <a:pt x="181093" y="1024294"/>
                    <a:pt x="179223" y="1016813"/>
                  </a:cubicBezTo>
                  <a:cubicBezTo>
                    <a:pt x="178541" y="1014086"/>
                    <a:pt x="174154" y="994954"/>
                    <a:pt x="171908" y="991210"/>
                  </a:cubicBezTo>
                  <a:cubicBezTo>
                    <a:pt x="166399" y="982028"/>
                    <a:pt x="151633" y="976971"/>
                    <a:pt x="142647" y="976580"/>
                  </a:cubicBezTo>
                  <a:lnTo>
                    <a:pt x="58522" y="972922"/>
                  </a:lnTo>
                  <a:cubicBezTo>
                    <a:pt x="56084" y="969264"/>
                    <a:pt x="52470" y="966160"/>
                    <a:pt x="51207" y="961949"/>
                  </a:cubicBezTo>
                  <a:cubicBezTo>
                    <a:pt x="45520" y="942994"/>
                    <a:pt x="46157" y="898125"/>
                    <a:pt x="51207" y="885140"/>
                  </a:cubicBezTo>
                  <a:cubicBezTo>
                    <a:pt x="54393" y="876946"/>
                    <a:pt x="65837" y="875386"/>
                    <a:pt x="73152" y="870509"/>
                  </a:cubicBezTo>
                  <a:lnTo>
                    <a:pt x="84125" y="863194"/>
                  </a:lnTo>
                  <a:cubicBezTo>
                    <a:pt x="96511" y="826035"/>
                    <a:pt x="90267" y="848869"/>
                    <a:pt x="98756" y="793700"/>
                  </a:cubicBezTo>
                  <a:cubicBezTo>
                    <a:pt x="98971" y="790049"/>
                    <a:pt x="96527" y="739634"/>
                    <a:pt x="106071" y="720548"/>
                  </a:cubicBezTo>
                  <a:cubicBezTo>
                    <a:pt x="108037" y="716616"/>
                    <a:pt x="110948" y="713233"/>
                    <a:pt x="113386" y="709575"/>
                  </a:cubicBezTo>
                  <a:cubicBezTo>
                    <a:pt x="112167" y="690068"/>
                    <a:pt x="112369" y="670419"/>
                    <a:pt x="109728" y="651053"/>
                  </a:cubicBezTo>
                  <a:cubicBezTo>
                    <a:pt x="108686" y="643413"/>
                    <a:pt x="107865" y="634561"/>
                    <a:pt x="102413" y="629108"/>
                  </a:cubicBezTo>
                  <a:cubicBezTo>
                    <a:pt x="99975" y="626669"/>
                    <a:pt x="97252" y="624485"/>
                    <a:pt x="95098" y="621792"/>
                  </a:cubicBezTo>
                  <a:cubicBezTo>
                    <a:pt x="83067" y="606753"/>
                    <a:pt x="94214" y="612964"/>
                    <a:pt x="76810" y="607162"/>
                  </a:cubicBezTo>
                  <a:cubicBezTo>
                    <a:pt x="68719" y="599071"/>
                    <a:pt x="63615" y="595402"/>
                    <a:pt x="58522" y="585216"/>
                  </a:cubicBezTo>
                  <a:cubicBezTo>
                    <a:pt x="43378" y="554930"/>
                    <a:pt x="68514" y="594719"/>
                    <a:pt x="47549" y="563271"/>
                  </a:cubicBezTo>
                  <a:cubicBezTo>
                    <a:pt x="46330" y="558394"/>
                    <a:pt x="46140" y="553136"/>
                    <a:pt x="43892" y="548640"/>
                  </a:cubicBezTo>
                  <a:cubicBezTo>
                    <a:pt x="42350" y="545556"/>
                    <a:pt x="38350" y="544282"/>
                    <a:pt x="36576" y="541325"/>
                  </a:cubicBezTo>
                  <a:cubicBezTo>
                    <a:pt x="34592" y="538019"/>
                    <a:pt x="34643" y="533800"/>
                    <a:pt x="32919" y="530352"/>
                  </a:cubicBezTo>
                  <a:cubicBezTo>
                    <a:pt x="30953" y="526420"/>
                    <a:pt x="27389" y="523397"/>
                    <a:pt x="25604" y="519380"/>
                  </a:cubicBezTo>
                  <a:cubicBezTo>
                    <a:pt x="8191" y="480203"/>
                    <a:pt x="27529" y="511296"/>
                    <a:pt x="10973" y="486461"/>
                  </a:cubicBezTo>
                  <a:lnTo>
                    <a:pt x="3658" y="464516"/>
                  </a:lnTo>
                  <a:lnTo>
                    <a:pt x="0" y="453543"/>
                  </a:lnTo>
                  <a:cubicBezTo>
                    <a:pt x="1219" y="420625"/>
                    <a:pt x="485" y="387576"/>
                    <a:pt x="3658" y="354788"/>
                  </a:cubicBezTo>
                  <a:cubicBezTo>
                    <a:pt x="4183" y="349361"/>
                    <a:pt x="8948" y="345220"/>
                    <a:pt x="10973" y="340157"/>
                  </a:cubicBezTo>
                  <a:cubicBezTo>
                    <a:pt x="13837" y="332998"/>
                    <a:pt x="15850" y="325527"/>
                    <a:pt x="18288" y="318212"/>
                  </a:cubicBezTo>
                  <a:lnTo>
                    <a:pt x="21946" y="307239"/>
                  </a:lnTo>
                  <a:lnTo>
                    <a:pt x="25604" y="296266"/>
                  </a:lnTo>
                  <a:cubicBezTo>
                    <a:pt x="28042" y="280416"/>
                    <a:pt x="31009" y="264639"/>
                    <a:pt x="32919" y="248717"/>
                  </a:cubicBezTo>
                  <a:cubicBezTo>
                    <a:pt x="34668" y="234141"/>
                    <a:pt x="34636" y="219378"/>
                    <a:pt x="36576" y="204826"/>
                  </a:cubicBezTo>
                  <a:cubicBezTo>
                    <a:pt x="37086" y="201004"/>
                    <a:pt x="39175" y="197560"/>
                    <a:pt x="40234" y="193853"/>
                  </a:cubicBezTo>
                  <a:cubicBezTo>
                    <a:pt x="51299" y="155132"/>
                    <a:pt x="33810" y="209472"/>
                    <a:pt x="51207" y="157277"/>
                  </a:cubicBezTo>
                  <a:lnTo>
                    <a:pt x="58522" y="135332"/>
                  </a:lnTo>
                  <a:cubicBezTo>
                    <a:pt x="59741" y="131674"/>
                    <a:pt x="60041" y="127567"/>
                    <a:pt x="62180" y="124359"/>
                  </a:cubicBezTo>
                  <a:lnTo>
                    <a:pt x="69495" y="113386"/>
                  </a:lnTo>
                  <a:cubicBezTo>
                    <a:pt x="84852" y="67313"/>
                    <a:pt x="68867" y="113839"/>
                    <a:pt x="84125" y="73152"/>
                  </a:cubicBezTo>
                  <a:cubicBezTo>
                    <a:pt x="85479" y="69542"/>
                    <a:pt x="85799" y="65486"/>
                    <a:pt x="87783" y="62180"/>
                  </a:cubicBezTo>
                  <a:cubicBezTo>
                    <a:pt x="89557" y="59223"/>
                    <a:pt x="92660" y="57303"/>
                    <a:pt x="95098" y="54864"/>
                  </a:cubicBezTo>
                  <a:cubicBezTo>
                    <a:pt x="97294" y="46080"/>
                    <a:pt x="98178" y="35575"/>
                    <a:pt x="106071" y="29261"/>
                  </a:cubicBezTo>
                  <a:cubicBezTo>
                    <a:pt x="109082" y="26853"/>
                    <a:pt x="113386" y="26823"/>
                    <a:pt x="117044" y="25604"/>
                  </a:cubicBezTo>
                  <a:cubicBezTo>
                    <a:pt x="119482" y="21946"/>
                    <a:pt x="120631" y="16961"/>
                    <a:pt x="124359" y="14631"/>
                  </a:cubicBezTo>
                  <a:cubicBezTo>
                    <a:pt x="130898" y="10544"/>
                    <a:pt x="138989" y="9754"/>
                    <a:pt x="146304" y="7316"/>
                  </a:cubicBezTo>
                  <a:cubicBezTo>
                    <a:pt x="162050" y="2067"/>
                    <a:pt x="153532" y="4594"/>
                    <a:pt x="171908" y="0"/>
                  </a:cubicBezTo>
                  <a:cubicBezTo>
                    <a:pt x="182870" y="1218"/>
                    <a:pt x="213636" y="4032"/>
                    <a:pt x="226772" y="7316"/>
                  </a:cubicBezTo>
                  <a:cubicBezTo>
                    <a:pt x="234252" y="9186"/>
                    <a:pt x="248717" y="14631"/>
                    <a:pt x="248717" y="14631"/>
                  </a:cubicBezTo>
                  <a:cubicBezTo>
                    <a:pt x="269681" y="46078"/>
                    <a:pt x="241766" y="9071"/>
                    <a:pt x="267005" y="29261"/>
                  </a:cubicBezTo>
                  <a:cubicBezTo>
                    <a:pt x="270438" y="32007"/>
                    <a:pt x="271425" y="36926"/>
                    <a:pt x="274320" y="40234"/>
                  </a:cubicBezTo>
                  <a:cubicBezTo>
                    <a:pt x="279997" y="46722"/>
                    <a:pt x="286512" y="52426"/>
                    <a:pt x="292608" y="58522"/>
                  </a:cubicBezTo>
                  <a:lnTo>
                    <a:pt x="310896" y="76810"/>
                  </a:lnTo>
                  <a:lnTo>
                    <a:pt x="318212" y="84125"/>
                  </a:lnTo>
                  <a:cubicBezTo>
                    <a:pt x="324639" y="103409"/>
                    <a:pt x="317621" y="87805"/>
                    <a:pt x="332842" y="106071"/>
                  </a:cubicBezTo>
                  <a:cubicBezTo>
                    <a:pt x="348082" y="124359"/>
                    <a:pt x="331013" y="110948"/>
                    <a:pt x="351130" y="124359"/>
                  </a:cubicBezTo>
                  <a:cubicBezTo>
                    <a:pt x="352349" y="128017"/>
                    <a:pt x="352379" y="132321"/>
                    <a:pt x="354788" y="135332"/>
                  </a:cubicBezTo>
                  <a:cubicBezTo>
                    <a:pt x="363296" y="145967"/>
                    <a:pt x="377168" y="142937"/>
                    <a:pt x="387706" y="149962"/>
                  </a:cubicBezTo>
                  <a:cubicBezTo>
                    <a:pt x="391364" y="152400"/>
                    <a:pt x="394747" y="155311"/>
                    <a:pt x="398679" y="157277"/>
                  </a:cubicBezTo>
                  <a:cubicBezTo>
                    <a:pt x="403930" y="159902"/>
                    <a:pt x="419589" y="163419"/>
                    <a:pt x="424282" y="164592"/>
                  </a:cubicBezTo>
                  <a:cubicBezTo>
                    <a:pt x="439358" y="179670"/>
                    <a:pt x="422149" y="165165"/>
                    <a:pt x="449885" y="175565"/>
                  </a:cubicBezTo>
                  <a:cubicBezTo>
                    <a:pt x="469410" y="182886"/>
                    <a:pt x="453292" y="181267"/>
                    <a:pt x="468173" y="190196"/>
                  </a:cubicBezTo>
                  <a:cubicBezTo>
                    <a:pt x="472265" y="192652"/>
                    <a:pt x="490594" y="196557"/>
                    <a:pt x="493776" y="197511"/>
                  </a:cubicBezTo>
                  <a:cubicBezTo>
                    <a:pt x="501162" y="199727"/>
                    <a:pt x="508407" y="202388"/>
                    <a:pt x="515722" y="204826"/>
                  </a:cubicBezTo>
                  <a:lnTo>
                    <a:pt x="537668" y="212141"/>
                  </a:lnTo>
                  <a:cubicBezTo>
                    <a:pt x="541325" y="213360"/>
                    <a:pt x="544815" y="215321"/>
                    <a:pt x="548640" y="215799"/>
                  </a:cubicBezTo>
                  <a:lnTo>
                    <a:pt x="577901" y="219456"/>
                  </a:lnTo>
                  <a:cubicBezTo>
                    <a:pt x="581559" y="220675"/>
                    <a:pt x="585425" y="221390"/>
                    <a:pt x="588874" y="223114"/>
                  </a:cubicBezTo>
                  <a:cubicBezTo>
                    <a:pt x="592806" y="225080"/>
                    <a:pt x="595731" y="228885"/>
                    <a:pt x="599847" y="230429"/>
                  </a:cubicBezTo>
                  <a:cubicBezTo>
                    <a:pt x="605668" y="232612"/>
                    <a:pt x="612104" y="232579"/>
                    <a:pt x="618135" y="234087"/>
                  </a:cubicBezTo>
                  <a:cubicBezTo>
                    <a:pt x="621875" y="235022"/>
                    <a:pt x="625401" y="236685"/>
                    <a:pt x="629108" y="237744"/>
                  </a:cubicBezTo>
                  <a:cubicBezTo>
                    <a:pt x="633941" y="239125"/>
                    <a:pt x="638905" y="240021"/>
                    <a:pt x="643738" y="241402"/>
                  </a:cubicBezTo>
                  <a:cubicBezTo>
                    <a:pt x="647445" y="242461"/>
                    <a:pt x="650908" y="244426"/>
                    <a:pt x="654711" y="245060"/>
                  </a:cubicBezTo>
                  <a:cubicBezTo>
                    <a:pt x="665601" y="246875"/>
                    <a:pt x="676656" y="247498"/>
                    <a:pt x="687629" y="248717"/>
                  </a:cubicBezTo>
                  <a:cubicBezTo>
                    <a:pt x="695807" y="250762"/>
                    <a:pt x="718863" y="256129"/>
                    <a:pt x="724205" y="259690"/>
                  </a:cubicBezTo>
                  <a:lnTo>
                    <a:pt x="735178" y="267005"/>
                  </a:lnTo>
                  <a:cubicBezTo>
                    <a:pt x="738836" y="271882"/>
                    <a:pt x="743126" y="276343"/>
                    <a:pt x="746151" y="281636"/>
                  </a:cubicBezTo>
                  <a:cubicBezTo>
                    <a:pt x="748064" y="284983"/>
                    <a:pt x="748084" y="289160"/>
                    <a:pt x="749808" y="292608"/>
                  </a:cubicBezTo>
                  <a:cubicBezTo>
                    <a:pt x="751774" y="296540"/>
                    <a:pt x="754685" y="299923"/>
                    <a:pt x="757124" y="303581"/>
                  </a:cubicBezTo>
                  <a:cubicBezTo>
                    <a:pt x="765926" y="329993"/>
                    <a:pt x="756357" y="298594"/>
                    <a:pt x="764439" y="351130"/>
                  </a:cubicBezTo>
                  <a:cubicBezTo>
                    <a:pt x="765912" y="360703"/>
                    <a:pt x="771899" y="367950"/>
                    <a:pt x="775412" y="376733"/>
                  </a:cubicBezTo>
                  <a:cubicBezTo>
                    <a:pt x="788075" y="408389"/>
                    <a:pt x="774442" y="390394"/>
                    <a:pt x="797357" y="413309"/>
                  </a:cubicBezTo>
                  <a:cubicBezTo>
                    <a:pt x="805204" y="436848"/>
                    <a:pt x="794863" y="411281"/>
                    <a:pt x="811988" y="435255"/>
                  </a:cubicBezTo>
                  <a:cubicBezTo>
                    <a:pt x="815157" y="439692"/>
                    <a:pt x="815812" y="445696"/>
                    <a:pt x="819303" y="449885"/>
                  </a:cubicBezTo>
                  <a:cubicBezTo>
                    <a:pt x="822117" y="453262"/>
                    <a:pt x="826843" y="454454"/>
                    <a:pt x="830276" y="457200"/>
                  </a:cubicBezTo>
                  <a:cubicBezTo>
                    <a:pt x="832969" y="459354"/>
                    <a:pt x="835153" y="462077"/>
                    <a:pt x="837591" y="464516"/>
                  </a:cubicBezTo>
                  <a:cubicBezTo>
                    <a:pt x="838983" y="471478"/>
                    <a:pt x="841155" y="486275"/>
                    <a:pt x="844906" y="493776"/>
                  </a:cubicBezTo>
                  <a:cubicBezTo>
                    <a:pt x="849017" y="501997"/>
                    <a:pt x="856259" y="509943"/>
                    <a:pt x="863194" y="515722"/>
                  </a:cubicBezTo>
                  <a:cubicBezTo>
                    <a:pt x="866571" y="518536"/>
                    <a:pt x="870235" y="521071"/>
                    <a:pt x="874167" y="523037"/>
                  </a:cubicBezTo>
                  <a:cubicBezTo>
                    <a:pt x="877616" y="524761"/>
                    <a:pt x="881482" y="525476"/>
                    <a:pt x="885140" y="526695"/>
                  </a:cubicBezTo>
                  <a:lnTo>
                    <a:pt x="925373" y="523037"/>
                  </a:lnTo>
                  <a:cubicBezTo>
                    <a:pt x="960377" y="519537"/>
                    <a:pt x="948428" y="522669"/>
                    <a:pt x="969264" y="515722"/>
                  </a:cubicBezTo>
                  <a:cubicBezTo>
                    <a:pt x="987633" y="543273"/>
                    <a:pt x="962865" y="511456"/>
                    <a:pt x="991210" y="530352"/>
                  </a:cubicBezTo>
                  <a:cubicBezTo>
                    <a:pt x="994868" y="532790"/>
                    <a:pt x="995217" y="538430"/>
                    <a:pt x="998525" y="541325"/>
                  </a:cubicBezTo>
                  <a:cubicBezTo>
                    <a:pt x="1005142" y="547115"/>
                    <a:pt x="1013156" y="551079"/>
                    <a:pt x="1020471" y="555956"/>
                  </a:cubicBezTo>
                  <a:lnTo>
                    <a:pt x="1031444" y="563271"/>
                  </a:lnTo>
                  <a:cubicBezTo>
                    <a:pt x="1033882" y="566929"/>
                    <a:pt x="1035651" y="571136"/>
                    <a:pt x="1038759" y="574244"/>
                  </a:cubicBezTo>
                  <a:cubicBezTo>
                    <a:pt x="1041867" y="577352"/>
                    <a:pt x="1046986" y="578126"/>
                    <a:pt x="1049732" y="581559"/>
                  </a:cubicBezTo>
                  <a:cubicBezTo>
                    <a:pt x="1052140" y="584570"/>
                    <a:pt x="1050981" y="589521"/>
                    <a:pt x="1053389" y="592532"/>
                  </a:cubicBezTo>
                  <a:cubicBezTo>
                    <a:pt x="1056135" y="595965"/>
                    <a:pt x="1060985" y="597033"/>
                    <a:pt x="1064362" y="599847"/>
                  </a:cubicBezTo>
                  <a:cubicBezTo>
                    <a:pt x="1068336" y="603158"/>
                    <a:pt x="1071677" y="607162"/>
                    <a:pt x="1075335" y="610820"/>
                  </a:cubicBezTo>
                  <a:cubicBezTo>
                    <a:pt x="1084040" y="636935"/>
                    <a:pt x="1076234" y="628488"/>
                    <a:pt x="1093623" y="640080"/>
                  </a:cubicBezTo>
                  <a:cubicBezTo>
                    <a:pt x="1096061" y="643738"/>
                    <a:pt x="1098972" y="647121"/>
                    <a:pt x="1100938" y="651053"/>
                  </a:cubicBezTo>
                  <a:cubicBezTo>
                    <a:pt x="1102662" y="654502"/>
                    <a:pt x="1102724" y="658656"/>
                    <a:pt x="1104596" y="662026"/>
                  </a:cubicBezTo>
                  <a:cubicBezTo>
                    <a:pt x="1108866" y="669711"/>
                    <a:pt x="1119226" y="683972"/>
                    <a:pt x="1119226" y="683972"/>
                  </a:cubicBezTo>
                  <a:cubicBezTo>
                    <a:pt x="1120445" y="688849"/>
                    <a:pt x="1123384" y="693600"/>
                    <a:pt x="1122884" y="698602"/>
                  </a:cubicBezTo>
                  <a:cubicBezTo>
                    <a:pt x="1122117" y="706275"/>
                    <a:pt x="1115568" y="720548"/>
                    <a:pt x="1115568" y="720548"/>
                  </a:cubicBezTo>
                  <a:cubicBezTo>
                    <a:pt x="1118007" y="724205"/>
                    <a:pt x="1120703" y="727703"/>
                    <a:pt x="1122884" y="731520"/>
                  </a:cubicBezTo>
                  <a:cubicBezTo>
                    <a:pt x="1125589" y="736254"/>
                    <a:pt x="1126651" y="742011"/>
                    <a:pt x="1130199" y="746151"/>
                  </a:cubicBezTo>
                  <a:cubicBezTo>
                    <a:pt x="1134166" y="750779"/>
                    <a:pt x="1139952" y="753466"/>
                    <a:pt x="1144829" y="757124"/>
                  </a:cubicBezTo>
                  <a:cubicBezTo>
                    <a:pt x="1146048" y="768097"/>
                    <a:pt x="1145809" y="779331"/>
                    <a:pt x="1148487" y="790042"/>
                  </a:cubicBezTo>
                  <a:cubicBezTo>
                    <a:pt x="1149553" y="794307"/>
                    <a:pt x="1154412" y="796845"/>
                    <a:pt x="1155802" y="801015"/>
                  </a:cubicBezTo>
                  <a:cubicBezTo>
                    <a:pt x="1168943" y="840437"/>
                    <a:pt x="1150154" y="809000"/>
                    <a:pt x="1166775" y="833933"/>
                  </a:cubicBezTo>
                  <a:cubicBezTo>
                    <a:pt x="1167994" y="837591"/>
                    <a:pt x="1171066" y="841103"/>
                    <a:pt x="1170432" y="844906"/>
                  </a:cubicBezTo>
                  <a:cubicBezTo>
                    <a:pt x="1169709" y="849242"/>
                    <a:pt x="1165447" y="852151"/>
                    <a:pt x="1163117" y="855879"/>
                  </a:cubicBezTo>
                  <a:cubicBezTo>
                    <a:pt x="1160695" y="859754"/>
                    <a:pt x="1146388" y="885320"/>
                    <a:pt x="1141172" y="888797"/>
                  </a:cubicBezTo>
                  <a:cubicBezTo>
                    <a:pt x="1134756" y="893074"/>
                    <a:pt x="1119226" y="896112"/>
                    <a:pt x="1119226" y="896112"/>
                  </a:cubicBezTo>
                  <a:cubicBezTo>
                    <a:pt x="1102107" y="913233"/>
                    <a:pt x="1123095" y="894424"/>
                    <a:pt x="1100938" y="907085"/>
                  </a:cubicBezTo>
                  <a:cubicBezTo>
                    <a:pt x="1095645" y="910109"/>
                    <a:pt x="1090991" y="914156"/>
                    <a:pt x="1086308" y="918058"/>
                  </a:cubicBezTo>
                  <a:cubicBezTo>
                    <a:pt x="1083659" y="920266"/>
                    <a:pt x="1082077" y="923831"/>
                    <a:pt x="1078992" y="925373"/>
                  </a:cubicBezTo>
                  <a:cubicBezTo>
                    <a:pt x="1072095" y="928821"/>
                    <a:pt x="1057047" y="932688"/>
                    <a:pt x="1057047" y="932688"/>
                  </a:cubicBezTo>
                  <a:cubicBezTo>
                    <a:pt x="1042760" y="946977"/>
                    <a:pt x="1057751" y="934166"/>
                    <a:pt x="1038759" y="943661"/>
                  </a:cubicBezTo>
                  <a:cubicBezTo>
                    <a:pt x="1034827" y="945627"/>
                    <a:pt x="1031603" y="948795"/>
                    <a:pt x="1027786" y="950976"/>
                  </a:cubicBezTo>
                  <a:cubicBezTo>
                    <a:pt x="1023052" y="953681"/>
                    <a:pt x="1017890" y="955587"/>
                    <a:pt x="1013156" y="958292"/>
                  </a:cubicBezTo>
                  <a:cubicBezTo>
                    <a:pt x="1009339" y="960473"/>
                    <a:pt x="1006224" y="963876"/>
                    <a:pt x="1002183" y="965607"/>
                  </a:cubicBezTo>
                  <a:cubicBezTo>
                    <a:pt x="997562" y="967587"/>
                    <a:pt x="992429" y="968045"/>
                    <a:pt x="987552" y="969264"/>
                  </a:cubicBezTo>
                  <a:cubicBezTo>
                    <a:pt x="983895" y="971703"/>
                    <a:pt x="980512" y="974614"/>
                    <a:pt x="976580" y="976580"/>
                  </a:cubicBezTo>
                  <a:cubicBezTo>
                    <a:pt x="973132" y="978304"/>
                    <a:pt x="968618" y="977829"/>
                    <a:pt x="965607" y="980237"/>
                  </a:cubicBezTo>
                  <a:cubicBezTo>
                    <a:pt x="962174" y="982983"/>
                    <a:pt x="961400" y="988102"/>
                    <a:pt x="958292" y="991210"/>
                  </a:cubicBezTo>
                  <a:cubicBezTo>
                    <a:pt x="955184" y="994318"/>
                    <a:pt x="950977" y="996087"/>
                    <a:pt x="947319" y="998525"/>
                  </a:cubicBezTo>
                  <a:cubicBezTo>
                    <a:pt x="943661" y="1003402"/>
                    <a:pt x="940657" y="1008845"/>
                    <a:pt x="936346" y="1013156"/>
                  </a:cubicBezTo>
                  <a:cubicBezTo>
                    <a:pt x="933238" y="1016264"/>
                    <a:pt x="928750" y="1017657"/>
                    <a:pt x="925373" y="1020471"/>
                  </a:cubicBezTo>
                  <a:cubicBezTo>
                    <a:pt x="921399" y="1023782"/>
                    <a:pt x="918374" y="1028132"/>
                    <a:pt x="914400" y="1031444"/>
                  </a:cubicBezTo>
                  <a:cubicBezTo>
                    <a:pt x="911023" y="1034258"/>
                    <a:pt x="906860" y="1036013"/>
                    <a:pt x="903428" y="1038759"/>
                  </a:cubicBezTo>
                  <a:cubicBezTo>
                    <a:pt x="893931" y="1046356"/>
                    <a:pt x="897799" y="1047763"/>
                    <a:pt x="885140" y="1053389"/>
                  </a:cubicBezTo>
                  <a:cubicBezTo>
                    <a:pt x="878094" y="1056521"/>
                    <a:pt x="870091" y="1057255"/>
                    <a:pt x="863194" y="1060704"/>
                  </a:cubicBezTo>
                  <a:cubicBezTo>
                    <a:pt x="858317" y="1063143"/>
                    <a:pt x="853669" y="1066106"/>
                    <a:pt x="848564" y="1068020"/>
                  </a:cubicBezTo>
                  <a:cubicBezTo>
                    <a:pt x="839177" y="1071540"/>
                    <a:pt x="831811" y="1070909"/>
                    <a:pt x="822960" y="1075335"/>
                  </a:cubicBezTo>
                  <a:cubicBezTo>
                    <a:pt x="819028" y="1077301"/>
                    <a:pt x="816005" y="1080865"/>
                    <a:pt x="811988" y="1082650"/>
                  </a:cubicBezTo>
                  <a:cubicBezTo>
                    <a:pt x="804942" y="1085782"/>
                    <a:pt x="790042" y="1089965"/>
                    <a:pt x="790042" y="1089965"/>
                  </a:cubicBezTo>
                  <a:cubicBezTo>
                    <a:pt x="756269" y="1112479"/>
                    <a:pt x="797813" y="1083748"/>
                    <a:pt x="771754" y="1104596"/>
                  </a:cubicBezTo>
                  <a:cubicBezTo>
                    <a:pt x="768321" y="1107342"/>
                    <a:pt x="764439" y="1109473"/>
                    <a:pt x="760781" y="1111911"/>
                  </a:cubicBezTo>
                  <a:cubicBezTo>
                    <a:pt x="758343" y="1115569"/>
                    <a:pt x="756899" y="1120138"/>
                    <a:pt x="753466" y="1122884"/>
                  </a:cubicBezTo>
                  <a:cubicBezTo>
                    <a:pt x="750455" y="1125292"/>
                    <a:pt x="745219" y="1123815"/>
                    <a:pt x="742493" y="1126541"/>
                  </a:cubicBezTo>
                  <a:cubicBezTo>
                    <a:pt x="736276" y="1132758"/>
                    <a:pt x="735178" y="1143610"/>
                    <a:pt x="727863" y="1148487"/>
                  </a:cubicBezTo>
                  <a:lnTo>
                    <a:pt x="705917" y="1163117"/>
                  </a:lnTo>
                  <a:cubicBezTo>
                    <a:pt x="702259" y="1165555"/>
                    <a:pt x="698052" y="1167323"/>
                    <a:pt x="694944" y="1170432"/>
                  </a:cubicBezTo>
                  <a:cubicBezTo>
                    <a:pt x="692506" y="1172871"/>
                    <a:pt x="690713" y="1176206"/>
                    <a:pt x="687629" y="1177748"/>
                  </a:cubicBezTo>
                  <a:cubicBezTo>
                    <a:pt x="683133" y="1179996"/>
                    <a:pt x="677945" y="1180506"/>
                    <a:pt x="672999" y="1181405"/>
                  </a:cubicBezTo>
                  <a:cubicBezTo>
                    <a:pt x="651109" y="1185385"/>
                    <a:pt x="607162" y="1192378"/>
                    <a:pt x="607162" y="1192378"/>
                  </a:cubicBezTo>
                  <a:lnTo>
                    <a:pt x="354788" y="1188720"/>
                  </a:lnTo>
                  <a:cubicBezTo>
                    <a:pt x="350934" y="1188613"/>
                    <a:pt x="347618" y="1185697"/>
                    <a:pt x="343815" y="1185063"/>
                  </a:cubicBezTo>
                  <a:cubicBezTo>
                    <a:pt x="332925" y="1183248"/>
                    <a:pt x="321851" y="1182774"/>
                    <a:pt x="310896" y="1181405"/>
                  </a:cubicBezTo>
                  <a:cubicBezTo>
                    <a:pt x="302342" y="1180336"/>
                    <a:pt x="293827" y="1178967"/>
                    <a:pt x="285293" y="1177748"/>
                  </a:cubicBezTo>
                  <a:cubicBezTo>
                    <a:pt x="263259" y="1179751"/>
                    <a:pt x="213709" y="1186435"/>
                    <a:pt x="193853" y="1177748"/>
                  </a:cubicBezTo>
                  <a:cubicBezTo>
                    <a:pt x="183839" y="1173367"/>
                    <a:pt x="184709" y="1153364"/>
                    <a:pt x="182880" y="1148487"/>
                  </a:cubicBezTo>
                  <a:close/>
                </a:path>
              </a:pathLst>
            </a:custGeom>
            <a:solidFill>
              <a:schemeClr val="accent5">
                <a:lumMod val="75000"/>
                <a:alpha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ru-RU" sz="1100" dirty="0" smtClea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algn="r"/>
              <a:endParaRPr lang="ru-RU" sz="11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algn="r"/>
              <a:endParaRPr lang="ru-RU" sz="1100" dirty="0" smtClea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algn="r"/>
              <a:endParaRPr lang="ru-RU" sz="1100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endPara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0" name="Полилиния 29"/>
            <p:cNvSpPr/>
            <p:nvPr/>
          </p:nvSpPr>
          <p:spPr>
            <a:xfrm>
              <a:off x="3405328" y="4335211"/>
              <a:ext cx="521489" cy="1216026"/>
            </a:xfrm>
            <a:custGeom>
              <a:avLst/>
              <a:gdLst>
                <a:gd name="connsiteX0" fmla="*/ 976579 w 1144829"/>
                <a:gd name="connsiteY0" fmla="*/ 1627632 h 1627632"/>
                <a:gd name="connsiteX1" fmla="*/ 976579 w 1144829"/>
                <a:gd name="connsiteY1" fmla="*/ 1627632 h 1627632"/>
                <a:gd name="connsiteX2" fmla="*/ 987552 w 1144829"/>
                <a:gd name="connsiteY2" fmla="*/ 1598371 h 1627632"/>
                <a:gd name="connsiteX3" fmla="*/ 969264 w 1144829"/>
                <a:gd name="connsiteY3" fmla="*/ 1565453 h 1627632"/>
                <a:gd name="connsiteX4" fmla="*/ 961949 w 1144829"/>
                <a:gd name="connsiteY4" fmla="*/ 1554480 h 1627632"/>
                <a:gd name="connsiteX5" fmla="*/ 954634 w 1144829"/>
                <a:gd name="connsiteY5" fmla="*/ 1532535 h 1627632"/>
                <a:gd name="connsiteX6" fmla="*/ 921715 w 1144829"/>
                <a:gd name="connsiteY6" fmla="*/ 1510589 h 1627632"/>
                <a:gd name="connsiteX7" fmla="*/ 910742 w 1144829"/>
                <a:gd name="connsiteY7" fmla="*/ 1503274 h 1627632"/>
                <a:gd name="connsiteX8" fmla="*/ 899770 w 1144829"/>
                <a:gd name="connsiteY8" fmla="*/ 1499616 h 1627632"/>
                <a:gd name="connsiteX9" fmla="*/ 877824 w 1144829"/>
                <a:gd name="connsiteY9" fmla="*/ 1481328 h 1627632"/>
                <a:gd name="connsiteX10" fmla="*/ 855878 w 1144829"/>
                <a:gd name="connsiteY10" fmla="*/ 1463040 h 1627632"/>
                <a:gd name="connsiteX11" fmla="*/ 844906 w 1144829"/>
                <a:gd name="connsiteY11" fmla="*/ 1448410 h 1627632"/>
                <a:gd name="connsiteX12" fmla="*/ 837590 w 1144829"/>
                <a:gd name="connsiteY12" fmla="*/ 1441095 h 1627632"/>
                <a:gd name="connsiteX13" fmla="*/ 822960 w 1144829"/>
                <a:gd name="connsiteY13" fmla="*/ 1422807 h 1627632"/>
                <a:gd name="connsiteX14" fmla="*/ 815645 w 1144829"/>
                <a:gd name="connsiteY14" fmla="*/ 1411834 h 1627632"/>
                <a:gd name="connsiteX15" fmla="*/ 811987 w 1144829"/>
                <a:gd name="connsiteY15" fmla="*/ 1400861 h 1627632"/>
                <a:gd name="connsiteX16" fmla="*/ 801014 w 1144829"/>
                <a:gd name="connsiteY16" fmla="*/ 1393546 h 1627632"/>
                <a:gd name="connsiteX17" fmla="*/ 793699 w 1144829"/>
                <a:gd name="connsiteY17" fmla="*/ 1382573 h 1627632"/>
                <a:gd name="connsiteX18" fmla="*/ 790042 w 1144829"/>
                <a:gd name="connsiteY18" fmla="*/ 1371600 h 1627632"/>
                <a:gd name="connsiteX19" fmla="*/ 779069 w 1144829"/>
                <a:gd name="connsiteY19" fmla="*/ 1360627 h 1627632"/>
                <a:gd name="connsiteX20" fmla="*/ 771754 w 1144829"/>
                <a:gd name="connsiteY20" fmla="*/ 1335024 h 1627632"/>
                <a:gd name="connsiteX21" fmla="*/ 764438 w 1144829"/>
                <a:gd name="connsiteY21" fmla="*/ 1327709 h 1627632"/>
                <a:gd name="connsiteX22" fmla="*/ 757123 w 1144829"/>
                <a:gd name="connsiteY22" fmla="*/ 1316736 h 1627632"/>
                <a:gd name="connsiteX23" fmla="*/ 746150 w 1144829"/>
                <a:gd name="connsiteY23" fmla="*/ 1294791 h 1627632"/>
                <a:gd name="connsiteX24" fmla="*/ 742493 w 1144829"/>
                <a:gd name="connsiteY24" fmla="*/ 1283818 h 1627632"/>
                <a:gd name="connsiteX25" fmla="*/ 735178 w 1144829"/>
                <a:gd name="connsiteY25" fmla="*/ 1269187 h 1627632"/>
                <a:gd name="connsiteX26" fmla="*/ 727862 w 1144829"/>
                <a:gd name="connsiteY26" fmla="*/ 1247242 h 1627632"/>
                <a:gd name="connsiteX27" fmla="*/ 713232 w 1144829"/>
                <a:gd name="connsiteY27" fmla="*/ 1221639 h 1627632"/>
                <a:gd name="connsiteX28" fmla="*/ 709574 w 1144829"/>
                <a:gd name="connsiteY28" fmla="*/ 1210666 h 1627632"/>
                <a:gd name="connsiteX29" fmla="*/ 698602 w 1144829"/>
                <a:gd name="connsiteY29" fmla="*/ 1203351 h 1627632"/>
                <a:gd name="connsiteX30" fmla="*/ 683971 w 1144829"/>
                <a:gd name="connsiteY30" fmla="*/ 1181405 h 1627632"/>
                <a:gd name="connsiteX31" fmla="*/ 672998 w 1144829"/>
                <a:gd name="connsiteY31" fmla="*/ 1174090 h 1627632"/>
                <a:gd name="connsiteX32" fmla="*/ 647395 w 1144829"/>
                <a:gd name="connsiteY32" fmla="*/ 1141171 h 1627632"/>
                <a:gd name="connsiteX33" fmla="*/ 618134 w 1144829"/>
                <a:gd name="connsiteY33" fmla="*/ 1111911 h 1627632"/>
                <a:gd name="connsiteX34" fmla="*/ 610819 w 1144829"/>
                <a:gd name="connsiteY34" fmla="*/ 1104595 h 1627632"/>
                <a:gd name="connsiteX35" fmla="*/ 588874 w 1144829"/>
                <a:gd name="connsiteY35" fmla="*/ 1089965 h 1627632"/>
                <a:gd name="connsiteX36" fmla="*/ 577901 w 1144829"/>
                <a:gd name="connsiteY36" fmla="*/ 1082650 h 1627632"/>
                <a:gd name="connsiteX37" fmla="*/ 566928 w 1144829"/>
                <a:gd name="connsiteY37" fmla="*/ 1078992 h 1627632"/>
                <a:gd name="connsiteX38" fmla="*/ 544982 w 1144829"/>
                <a:gd name="connsiteY38" fmla="*/ 1060704 h 1627632"/>
                <a:gd name="connsiteX39" fmla="*/ 534010 w 1144829"/>
                <a:gd name="connsiteY39" fmla="*/ 1053389 h 1627632"/>
                <a:gd name="connsiteX40" fmla="*/ 526694 w 1144829"/>
                <a:gd name="connsiteY40" fmla="*/ 1046074 h 1627632"/>
                <a:gd name="connsiteX41" fmla="*/ 515722 w 1144829"/>
                <a:gd name="connsiteY41" fmla="*/ 1042416 h 1627632"/>
                <a:gd name="connsiteX42" fmla="*/ 497434 w 1144829"/>
                <a:gd name="connsiteY42" fmla="*/ 1020471 h 1627632"/>
                <a:gd name="connsiteX43" fmla="*/ 475488 w 1144829"/>
                <a:gd name="connsiteY43" fmla="*/ 983895 h 1627632"/>
                <a:gd name="connsiteX44" fmla="*/ 457200 w 1144829"/>
                <a:gd name="connsiteY44" fmla="*/ 958291 h 1627632"/>
                <a:gd name="connsiteX45" fmla="*/ 453542 w 1144829"/>
                <a:gd name="connsiteY45" fmla="*/ 947319 h 1627632"/>
                <a:gd name="connsiteX46" fmla="*/ 446227 w 1144829"/>
                <a:gd name="connsiteY46" fmla="*/ 936346 h 1627632"/>
                <a:gd name="connsiteX47" fmla="*/ 438912 w 1144829"/>
                <a:gd name="connsiteY47" fmla="*/ 921715 h 1627632"/>
                <a:gd name="connsiteX48" fmla="*/ 435254 w 1144829"/>
                <a:gd name="connsiteY48" fmla="*/ 910743 h 1627632"/>
                <a:gd name="connsiteX49" fmla="*/ 416966 w 1144829"/>
                <a:gd name="connsiteY49" fmla="*/ 892455 h 1627632"/>
                <a:gd name="connsiteX50" fmla="*/ 409651 w 1144829"/>
                <a:gd name="connsiteY50" fmla="*/ 885139 h 1627632"/>
                <a:gd name="connsiteX51" fmla="*/ 405994 w 1144829"/>
                <a:gd name="connsiteY51" fmla="*/ 874167 h 1627632"/>
                <a:gd name="connsiteX52" fmla="*/ 398678 w 1144829"/>
                <a:gd name="connsiteY52" fmla="*/ 863194 h 1627632"/>
                <a:gd name="connsiteX53" fmla="*/ 395021 w 1144829"/>
                <a:gd name="connsiteY53" fmla="*/ 848563 h 1627632"/>
                <a:gd name="connsiteX54" fmla="*/ 380390 w 1144829"/>
                <a:gd name="connsiteY54" fmla="*/ 826618 h 1627632"/>
                <a:gd name="connsiteX55" fmla="*/ 369418 w 1144829"/>
                <a:gd name="connsiteY55" fmla="*/ 804672 h 1627632"/>
                <a:gd name="connsiteX56" fmla="*/ 362102 w 1144829"/>
                <a:gd name="connsiteY56" fmla="*/ 782727 h 1627632"/>
                <a:gd name="connsiteX57" fmla="*/ 354787 w 1144829"/>
                <a:gd name="connsiteY57" fmla="*/ 775411 h 1627632"/>
                <a:gd name="connsiteX58" fmla="*/ 340157 w 1144829"/>
                <a:gd name="connsiteY58" fmla="*/ 746151 h 1627632"/>
                <a:gd name="connsiteX59" fmla="*/ 336499 w 1144829"/>
                <a:gd name="connsiteY59" fmla="*/ 735178 h 1627632"/>
                <a:gd name="connsiteX60" fmla="*/ 321869 w 1144829"/>
                <a:gd name="connsiteY60" fmla="*/ 713232 h 1627632"/>
                <a:gd name="connsiteX61" fmla="*/ 314554 w 1144829"/>
                <a:gd name="connsiteY61" fmla="*/ 702259 h 1627632"/>
                <a:gd name="connsiteX62" fmla="*/ 303581 w 1144829"/>
                <a:gd name="connsiteY62" fmla="*/ 694944 h 1627632"/>
                <a:gd name="connsiteX63" fmla="*/ 292608 w 1144829"/>
                <a:gd name="connsiteY63" fmla="*/ 683971 h 1627632"/>
                <a:gd name="connsiteX64" fmla="*/ 274320 w 1144829"/>
                <a:gd name="connsiteY64" fmla="*/ 680314 h 1627632"/>
                <a:gd name="connsiteX65" fmla="*/ 263347 w 1144829"/>
                <a:gd name="connsiteY65" fmla="*/ 669341 h 1627632"/>
                <a:gd name="connsiteX66" fmla="*/ 252374 w 1144829"/>
                <a:gd name="connsiteY66" fmla="*/ 665683 h 1627632"/>
                <a:gd name="connsiteX67" fmla="*/ 241402 w 1144829"/>
                <a:gd name="connsiteY67" fmla="*/ 658368 h 1627632"/>
                <a:gd name="connsiteX68" fmla="*/ 223114 w 1144829"/>
                <a:gd name="connsiteY68" fmla="*/ 651053 h 1627632"/>
                <a:gd name="connsiteX69" fmla="*/ 204826 w 1144829"/>
                <a:gd name="connsiteY69" fmla="*/ 636423 h 1627632"/>
                <a:gd name="connsiteX70" fmla="*/ 197510 w 1144829"/>
                <a:gd name="connsiteY70" fmla="*/ 629107 h 1627632"/>
                <a:gd name="connsiteX71" fmla="*/ 186538 w 1144829"/>
                <a:gd name="connsiteY71" fmla="*/ 625450 h 1627632"/>
                <a:gd name="connsiteX72" fmla="*/ 171907 w 1144829"/>
                <a:gd name="connsiteY72" fmla="*/ 610819 h 1627632"/>
                <a:gd name="connsiteX73" fmla="*/ 160934 w 1144829"/>
                <a:gd name="connsiteY73" fmla="*/ 603504 h 1627632"/>
                <a:gd name="connsiteX74" fmla="*/ 128016 w 1144829"/>
                <a:gd name="connsiteY74" fmla="*/ 581559 h 1627632"/>
                <a:gd name="connsiteX75" fmla="*/ 106070 w 1144829"/>
                <a:gd name="connsiteY75" fmla="*/ 559613 h 1627632"/>
                <a:gd name="connsiteX76" fmla="*/ 80467 w 1144829"/>
                <a:gd name="connsiteY76" fmla="*/ 530352 h 1627632"/>
                <a:gd name="connsiteX77" fmla="*/ 73152 w 1144829"/>
                <a:gd name="connsiteY77" fmla="*/ 508407 h 1627632"/>
                <a:gd name="connsiteX78" fmla="*/ 69494 w 1144829"/>
                <a:gd name="connsiteY78" fmla="*/ 497434 h 1627632"/>
                <a:gd name="connsiteX79" fmla="*/ 58522 w 1144829"/>
                <a:gd name="connsiteY79" fmla="*/ 486461 h 1627632"/>
                <a:gd name="connsiteX80" fmla="*/ 54864 w 1144829"/>
                <a:gd name="connsiteY80" fmla="*/ 475488 h 1627632"/>
                <a:gd name="connsiteX81" fmla="*/ 47549 w 1144829"/>
                <a:gd name="connsiteY81" fmla="*/ 464515 h 1627632"/>
                <a:gd name="connsiteX82" fmla="*/ 32918 w 1144829"/>
                <a:gd name="connsiteY82" fmla="*/ 435255 h 1627632"/>
                <a:gd name="connsiteX83" fmla="*/ 29261 w 1144829"/>
                <a:gd name="connsiteY83" fmla="*/ 413309 h 1627632"/>
                <a:gd name="connsiteX84" fmla="*/ 25603 w 1144829"/>
                <a:gd name="connsiteY84" fmla="*/ 402336 h 1627632"/>
                <a:gd name="connsiteX85" fmla="*/ 18288 w 1144829"/>
                <a:gd name="connsiteY85" fmla="*/ 369418 h 1627632"/>
                <a:gd name="connsiteX86" fmla="*/ 7315 w 1144829"/>
                <a:gd name="connsiteY86" fmla="*/ 274320 h 1627632"/>
                <a:gd name="connsiteX87" fmla="*/ 0 w 1144829"/>
                <a:gd name="connsiteY87" fmla="*/ 248717 h 1627632"/>
                <a:gd name="connsiteX88" fmla="*/ 3658 w 1144829"/>
                <a:gd name="connsiteY88" fmla="*/ 182880 h 1627632"/>
                <a:gd name="connsiteX89" fmla="*/ 10973 w 1144829"/>
                <a:gd name="connsiteY89" fmla="*/ 168250 h 1627632"/>
                <a:gd name="connsiteX90" fmla="*/ 14630 w 1144829"/>
                <a:gd name="connsiteY90" fmla="*/ 153619 h 1627632"/>
                <a:gd name="connsiteX91" fmla="*/ 18288 w 1144829"/>
                <a:gd name="connsiteY91" fmla="*/ 80467 h 1627632"/>
                <a:gd name="connsiteX92" fmla="*/ 43891 w 1144829"/>
                <a:gd name="connsiteY92" fmla="*/ 51207 h 1627632"/>
                <a:gd name="connsiteX93" fmla="*/ 51206 w 1144829"/>
                <a:gd name="connsiteY93" fmla="*/ 43891 h 1627632"/>
                <a:gd name="connsiteX94" fmla="*/ 62179 w 1144829"/>
                <a:gd name="connsiteY94" fmla="*/ 40234 h 1627632"/>
                <a:gd name="connsiteX95" fmla="*/ 84125 w 1144829"/>
                <a:gd name="connsiteY95" fmla="*/ 25603 h 1627632"/>
                <a:gd name="connsiteX96" fmla="*/ 109728 w 1144829"/>
                <a:gd name="connsiteY96" fmla="*/ 10973 h 1627632"/>
                <a:gd name="connsiteX97" fmla="*/ 131674 w 1144829"/>
                <a:gd name="connsiteY97" fmla="*/ 3658 h 1627632"/>
                <a:gd name="connsiteX98" fmla="*/ 142646 w 1144829"/>
                <a:gd name="connsiteY98" fmla="*/ 0 h 1627632"/>
                <a:gd name="connsiteX99" fmla="*/ 190195 w 1144829"/>
                <a:gd name="connsiteY99" fmla="*/ 3658 h 1627632"/>
                <a:gd name="connsiteX100" fmla="*/ 212141 w 1144829"/>
                <a:gd name="connsiteY100" fmla="*/ 18288 h 1627632"/>
                <a:gd name="connsiteX101" fmla="*/ 223114 w 1144829"/>
                <a:gd name="connsiteY101" fmla="*/ 21946 h 1627632"/>
                <a:gd name="connsiteX102" fmla="*/ 234086 w 1144829"/>
                <a:gd name="connsiteY102" fmla="*/ 29261 h 1627632"/>
                <a:gd name="connsiteX103" fmla="*/ 256032 w 1144829"/>
                <a:gd name="connsiteY103" fmla="*/ 36576 h 1627632"/>
                <a:gd name="connsiteX104" fmla="*/ 340157 w 1144829"/>
                <a:gd name="connsiteY104" fmla="*/ 32919 h 1627632"/>
                <a:gd name="connsiteX105" fmla="*/ 490118 w 1144829"/>
                <a:gd name="connsiteY105" fmla="*/ 29261 h 1627632"/>
                <a:gd name="connsiteX106" fmla="*/ 526694 w 1144829"/>
                <a:gd name="connsiteY106" fmla="*/ 21946 h 1627632"/>
                <a:gd name="connsiteX107" fmla="*/ 537667 w 1144829"/>
                <a:gd name="connsiteY107" fmla="*/ 18288 h 1627632"/>
                <a:gd name="connsiteX108" fmla="*/ 570586 w 1144829"/>
                <a:gd name="connsiteY108" fmla="*/ 10973 h 1627632"/>
                <a:gd name="connsiteX109" fmla="*/ 610819 w 1144829"/>
                <a:gd name="connsiteY109" fmla="*/ 14631 h 1627632"/>
                <a:gd name="connsiteX110" fmla="*/ 640080 w 1144829"/>
                <a:gd name="connsiteY110" fmla="*/ 25603 h 1627632"/>
                <a:gd name="connsiteX111" fmla="*/ 651053 w 1144829"/>
                <a:gd name="connsiteY111" fmla="*/ 32919 h 1627632"/>
                <a:gd name="connsiteX112" fmla="*/ 680314 w 1144829"/>
                <a:gd name="connsiteY112" fmla="*/ 43891 h 1627632"/>
                <a:gd name="connsiteX113" fmla="*/ 822960 w 1144829"/>
                <a:gd name="connsiteY113" fmla="*/ 47549 h 1627632"/>
                <a:gd name="connsiteX114" fmla="*/ 844906 w 1144829"/>
                <a:gd name="connsiteY114" fmla="*/ 54864 h 1627632"/>
                <a:gd name="connsiteX115" fmla="*/ 855878 w 1144829"/>
                <a:gd name="connsiteY115" fmla="*/ 58522 h 1627632"/>
                <a:gd name="connsiteX116" fmla="*/ 870509 w 1144829"/>
                <a:gd name="connsiteY116" fmla="*/ 65837 h 1627632"/>
                <a:gd name="connsiteX117" fmla="*/ 881482 w 1144829"/>
                <a:gd name="connsiteY117" fmla="*/ 73152 h 1627632"/>
                <a:gd name="connsiteX118" fmla="*/ 892454 w 1144829"/>
                <a:gd name="connsiteY118" fmla="*/ 76810 h 1627632"/>
                <a:gd name="connsiteX119" fmla="*/ 918058 w 1144829"/>
                <a:gd name="connsiteY119" fmla="*/ 91440 h 1627632"/>
                <a:gd name="connsiteX120" fmla="*/ 929030 w 1144829"/>
                <a:gd name="connsiteY120" fmla="*/ 95098 h 1627632"/>
                <a:gd name="connsiteX121" fmla="*/ 965606 w 1144829"/>
                <a:gd name="connsiteY121" fmla="*/ 102413 h 1627632"/>
                <a:gd name="connsiteX122" fmla="*/ 976579 w 1144829"/>
                <a:gd name="connsiteY122" fmla="*/ 109728 h 1627632"/>
                <a:gd name="connsiteX123" fmla="*/ 994867 w 1144829"/>
                <a:gd name="connsiteY123" fmla="*/ 117043 h 1627632"/>
                <a:gd name="connsiteX124" fmla="*/ 1046074 w 1144829"/>
                <a:gd name="connsiteY124" fmla="*/ 131674 h 1627632"/>
                <a:gd name="connsiteX125" fmla="*/ 1078992 w 1144829"/>
                <a:gd name="connsiteY125" fmla="*/ 138989 h 1627632"/>
                <a:gd name="connsiteX126" fmla="*/ 1089965 w 1144829"/>
                <a:gd name="connsiteY126" fmla="*/ 149962 h 1627632"/>
                <a:gd name="connsiteX127" fmla="*/ 1111910 w 1144829"/>
                <a:gd name="connsiteY127" fmla="*/ 157277 h 1627632"/>
                <a:gd name="connsiteX128" fmla="*/ 1119226 w 1144829"/>
                <a:gd name="connsiteY128" fmla="*/ 164592 h 1627632"/>
                <a:gd name="connsiteX129" fmla="*/ 1130198 w 1144829"/>
                <a:gd name="connsiteY129" fmla="*/ 168250 h 1627632"/>
                <a:gd name="connsiteX130" fmla="*/ 1141171 w 1144829"/>
                <a:gd name="connsiteY130" fmla="*/ 175565 h 1627632"/>
                <a:gd name="connsiteX131" fmla="*/ 1144829 w 1144829"/>
                <a:gd name="connsiteY131" fmla="*/ 186538 h 1627632"/>
                <a:gd name="connsiteX132" fmla="*/ 1133856 w 1144829"/>
                <a:gd name="connsiteY132" fmla="*/ 248717 h 1627632"/>
                <a:gd name="connsiteX133" fmla="*/ 1122883 w 1144829"/>
                <a:gd name="connsiteY133" fmla="*/ 281635 h 1627632"/>
                <a:gd name="connsiteX134" fmla="*/ 1119226 w 1144829"/>
                <a:gd name="connsiteY134" fmla="*/ 292608 h 1627632"/>
                <a:gd name="connsiteX135" fmla="*/ 1104595 w 1144829"/>
                <a:gd name="connsiteY135" fmla="*/ 307239 h 1627632"/>
                <a:gd name="connsiteX136" fmla="*/ 1086307 w 1144829"/>
                <a:gd name="connsiteY136" fmla="*/ 329184 h 1627632"/>
                <a:gd name="connsiteX137" fmla="*/ 1068019 w 1144829"/>
                <a:gd name="connsiteY137" fmla="*/ 351130 h 1627632"/>
                <a:gd name="connsiteX138" fmla="*/ 1046074 w 1144829"/>
                <a:gd name="connsiteY138" fmla="*/ 376733 h 1627632"/>
                <a:gd name="connsiteX139" fmla="*/ 1038758 w 1144829"/>
                <a:gd name="connsiteY139" fmla="*/ 395021 h 1627632"/>
                <a:gd name="connsiteX140" fmla="*/ 1031443 w 1144829"/>
                <a:gd name="connsiteY140" fmla="*/ 416967 h 1627632"/>
                <a:gd name="connsiteX141" fmla="*/ 1024128 w 1144829"/>
                <a:gd name="connsiteY141" fmla="*/ 431597 h 1627632"/>
                <a:gd name="connsiteX142" fmla="*/ 1005840 w 1144829"/>
                <a:gd name="connsiteY142" fmla="*/ 453543 h 1627632"/>
                <a:gd name="connsiteX143" fmla="*/ 972922 w 1144829"/>
                <a:gd name="connsiteY143" fmla="*/ 471831 h 1627632"/>
                <a:gd name="connsiteX144" fmla="*/ 954634 w 1144829"/>
                <a:gd name="connsiteY144" fmla="*/ 490119 h 1627632"/>
                <a:gd name="connsiteX145" fmla="*/ 929030 w 1144829"/>
                <a:gd name="connsiteY145" fmla="*/ 504749 h 1627632"/>
                <a:gd name="connsiteX146" fmla="*/ 910742 w 1144829"/>
                <a:gd name="connsiteY146" fmla="*/ 526695 h 1627632"/>
                <a:gd name="connsiteX147" fmla="*/ 903427 w 1144829"/>
                <a:gd name="connsiteY147" fmla="*/ 537667 h 1627632"/>
                <a:gd name="connsiteX148" fmla="*/ 896112 w 1144829"/>
                <a:gd name="connsiteY148" fmla="*/ 544983 h 1627632"/>
                <a:gd name="connsiteX149" fmla="*/ 885139 w 1144829"/>
                <a:gd name="connsiteY149" fmla="*/ 559613 h 1627632"/>
                <a:gd name="connsiteX150" fmla="*/ 870509 w 1144829"/>
                <a:gd name="connsiteY150" fmla="*/ 581559 h 1627632"/>
                <a:gd name="connsiteX151" fmla="*/ 848563 w 1144829"/>
                <a:gd name="connsiteY151" fmla="*/ 614477 h 1627632"/>
                <a:gd name="connsiteX152" fmla="*/ 833933 w 1144829"/>
                <a:gd name="connsiteY152" fmla="*/ 636423 h 1627632"/>
                <a:gd name="connsiteX153" fmla="*/ 826618 w 1144829"/>
                <a:gd name="connsiteY153" fmla="*/ 647395 h 1627632"/>
                <a:gd name="connsiteX154" fmla="*/ 819302 w 1144829"/>
                <a:gd name="connsiteY154" fmla="*/ 654711 h 1627632"/>
                <a:gd name="connsiteX155" fmla="*/ 822960 w 1144829"/>
                <a:gd name="connsiteY155" fmla="*/ 705917 h 1627632"/>
                <a:gd name="connsiteX156" fmla="*/ 837590 w 1144829"/>
                <a:gd name="connsiteY156" fmla="*/ 738835 h 1627632"/>
                <a:gd name="connsiteX157" fmla="*/ 844906 w 1144829"/>
                <a:gd name="connsiteY157" fmla="*/ 760781 h 1627632"/>
                <a:gd name="connsiteX158" fmla="*/ 848563 w 1144829"/>
                <a:gd name="connsiteY158" fmla="*/ 771754 h 1627632"/>
                <a:gd name="connsiteX159" fmla="*/ 863194 w 1144829"/>
                <a:gd name="connsiteY159" fmla="*/ 793699 h 1627632"/>
                <a:gd name="connsiteX160" fmla="*/ 870509 w 1144829"/>
                <a:gd name="connsiteY160" fmla="*/ 815645 h 1627632"/>
                <a:gd name="connsiteX161" fmla="*/ 874166 w 1144829"/>
                <a:gd name="connsiteY161" fmla="*/ 826618 h 1627632"/>
                <a:gd name="connsiteX162" fmla="*/ 881482 w 1144829"/>
                <a:gd name="connsiteY162" fmla="*/ 833933 h 1627632"/>
                <a:gd name="connsiteX163" fmla="*/ 888797 w 1144829"/>
                <a:gd name="connsiteY163" fmla="*/ 848563 h 1627632"/>
                <a:gd name="connsiteX164" fmla="*/ 896112 w 1144829"/>
                <a:gd name="connsiteY164" fmla="*/ 859536 h 1627632"/>
                <a:gd name="connsiteX165" fmla="*/ 899770 w 1144829"/>
                <a:gd name="connsiteY165" fmla="*/ 874167 h 1627632"/>
                <a:gd name="connsiteX166" fmla="*/ 914400 w 1144829"/>
                <a:gd name="connsiteY166" fmla="*/ 892455 h 1627632"/>
                <a:gd name="connsiteX167" fmla="*/ 918058 w 1144829"/>
                <a:gd name="connsiteY167" fmla="*/ 903427 h 1627632"/>
                <a:gd name="connsiteX168" fmla="*/ 943661 w 1144829"/>
                <a:gd name="connsiteY168" fmla="*/ 940003 h 1627632"/>
                <a:gd name="connsiteX169" fmla="*/ 950976 w 1144829"/>
                <a:gd name="connsiteY169" fmla="*/ 947319 h 1627632"/>
                <a:gd name="connsiteX170" fmla="*/ 961949 w 1144829"/>
                <a:gd name="connsiteY170" fmla="*/ 972922 h 1627632"/>
                <a:gd name="connsiteX171" fmla="*/ 976579 w 1144829"/>
                <a:gd name="connsiteY171" fmla="*/ 994867 h 1627632"/>
                <a:gd name="connsiteX172" fmla="*/ 991210 w 1144829"/>
                <a:gd name="connsiteY172" fmla="*/ 1009498 h 1627632"/>
                <a:gd name="connsiteX173" fmla="*/ 1009498 w 1144829"/>
                <a:gd name="connsiteY173" fmla="*/ 1020471 h 1627632"/>
                <a:gd name="connsiteX174" fmla="*/ 1035101 w 1144829"/>
                <a:gd name="connsiteY174" fmla="*/ 1049731 h 1627632"/>
                <a:gd name="connsiteX175" fmla="*/ 1042416 w 1144829"/>
                <a:gd name="connsiteY175" fmla="*/ 1071677 h 1627632"/>
                <a:gd name="connsiteX176" fmla="*/ 1046074 w 1144829"/>
                <a:gd name="connsiteY176" fmla="*/ 1082650 h 1627632"/>
                <a:gd name="connsiteX177" fmla="*/ 1049731 w 1144829"/>
                <a:gd name="connsiteY177" fmla="*/ 1100938 h 1627632"/>
                <a:gd name="connsiteX178" fmla="*/ 1049731 w 1144829"/>
                <a:gd name="connsiteY178" fmla="*/ 1196035 h 1627632"/>
                <a:gd name="connsiteX179" fmla="*/ 1042416 w 1144829"/>
                <a:gd name="connsiteY179" fmla="*/ 1232611 h 1627632"/>
                <a:gd name="connsiteX180" fmla="*/ 1035101 w 1144829"/>
                <a:gd name="connsiteY180" fmla="*/ 1239927 h 1627632"/>
                <a:gd name="connsiteX181" fmla="*/ 1027786 w 1144829"/>
                <a:gd name="connsiteY181" fmla="*/ 1265530 h 1627632"/>
                <a:gd name="connsiteX182" fmla="*/ 1020470 w 1144829"/>
                <a:gd name="connsiteY182" fmla="*/ 1276503 h 1627632"/>
                <a:gd name="connsiteX183" fmla="*/ 1013155 w 1144829"/>
                <a:gd name="connsiteY183" fmla="*/ 1298448 h 1627632"/>
                <a:gd name="connsiteX184" fmla="*/ 1009498 w 1144829"/>
                <a:gd name="connsiteY184" fmla="*/ 1309421 h 1627632"/>
                <a:gd name="connsiteX185" fmla="*/ 1013155 w 1144829"/>
                <a:gd name="connsiteY185" fmla="*/ 1360627 h 1627632"/>
                <a:gd name="connsiteX186" fmla="*/ 1016813 w 1144829"/>
                <a:gd name="connsiteY186" fmla="*/ 1375258 h 1627632"/>
                <a:gd name="connsiteX187" fmla="*/ 1027786 w 1144829"/>
                <a:gd name="connsiteY187" fmla="*/ 1386231 h 1627632"/>
                <a:gd name="connsiteX188" fmla="*/ 1035101 w 1144829"/>
                <a:gd name="connsiteY188" fmla="*/ 1400861 h 1627632"/>
                <a:gd name="connsiteX189" fmla="*/ 1068019 w 1144829"/>
                <a:gd name="connsiteY189" fmla="*/ 1426464 h 1627632"/>
                <a:gd name="connsiteX190" fmla="*/ 1078992 w 1144829"/>
                <a:gd name="connsiteY190" fmla="*/ 1433779 h 1627632"/>
                <a:gd name="connsiteX191" fmla="*/ 1089965 w 1144829"/>
                <a:gd name="connsiteY191" fmla="*/ 1455725 h 1627632"/>
                <a:gd name="connsiteX192" fmla="*/ 1108253 w 1144829"/>
                <a:gd name="connsiteY192" fmla="*/ 1477671 h 1627632"/>
                <a:gd name="connsiteX193" fmla="*/ 1119226 w 1144829"/>
                <a:gd name="connsiteY193" fmla="*/ 1503274 h 1627632"/>
                <a:gd name="connsiteX194" fmla="*/ 1115568 w 1144829"/>
                <a:gd name="connsiteY194" fmla="*/ 1532535 h 1627632"/>
                <a:gd name="connsiteX195" fmla="*/ 1108253 w 1144829"/>
                <a:gd name="connsiteY195" fmla="*/ 1543507 h 1627632"/>
                <a:gd name="connsiteX196" fmla="*/ 1089965 w 1144829"/>
                <a:gd name="connsiteY196" fmla="*/ 1558138 h 1627632"/>
                <a:gd name="connsiteX197" fmla="*/ 1078992 w 1144829"/>
                <a:gd name="connsiteY197" fmla="*/ 1561795 h 1627632"/>
                <a:gd name="connsiteX198" fmla="*/ 1060704 w 1144829"/>
                <a:gd name="connsiteY198" fmla="*/ 1572768 h 1627632"/>
                <a:gd name="connsiteX199" fmla="*/ 1049731 w 1144829"/>
                <a:gd name="connsiteY199" fmla="*/ 1580083 h 1627632"/>
                <a:gd name="connsiteX200" fmla="*/ 1038758 w 1144829"/>
                <a:gd name="connsiteY200" fmla="*/ 1583741 h 1627632"/>
                <a:gd name="connsiteX201" fmla="*/ 1027786 w 1144829"/>
                <a:gd name="connsiteY201" fmla="*/ 1591056 h 1627632"/>
                <a:gd name="connsiteX202" fmla="*/ 976579 w 1144829"/>
                <a:gd name="connsiteY202" fmla="*/ 1627632 h 1627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</a:cxnLst>
              <a:rect l="l" t="t" r="r" b="b"/>
              <a:pathLst>
                <a:path w="1144829" h="1627632">
                  <a:moveTo>
                    <a:pt x="976579" y="1627632"/>
                  </a:moveTo>
                  <a:lnTo>
                    <a:pt x="976579" y="1627632"/>
                  </a:lnTo>
                  <a:cubicBezTo>
                    <a:pt x="980237" y="1617878"/>
                    <a:pt x="985840" y="1608646"/>
                    <a:pt x="987552" y="1598371"/>
                  </a:cubicBezTo>
                  <a:cubicBezTo>
                    <a:pt x="989700" y="1585481"/>
                    <a:pt x="975076" y="1573203"/>
                    <a:pt x="969264" y="1565453"/>
                  </a:cubicBezTo>
                  <a:cubicBezTo>
                    <a:pt x="966627" y="1561936"/>
                    <a:pt x="963734" y="1558497"/>
                    <a:pt x="961949" y="1554480"/>
                  </a:cubicBezTo>
                  <a:cubicBezTo>
                    <a:pt x="958817" y="1547434"/>
                    <a:pt x="961050" y="1536812"/>
                    <a:pt x="954634" y="1532535"/>
                  </a:cubicBezTo>
                  <a:lnTo>
                    <a:pt x="921715" y="1510589"/>
                  </a:lnTo>
                  <a:cubicBezTo>
                    <a:pt x="918057" y="1508151"/>
                    <a:pt x="914912" y="1504664"/>
                    <a:pt x="910742" y="1503274"/>
                  </a:cubicBezTo>
                  <a:lnTo>
                    <a:pt x="899770" y="1499616"/>
                  </a:lnTo>
                  <a:cubicBezTo>
                    <a:pt x="880758" y="1480607"/>
                    <a:pt x="908267" y="1507423"/>
                    <a:pt x="877824" y="1481328"/>
                  </a:cubicBezTo>
                  <a:cubicBezTo>
                    <a:pt x="853186" y="1460209"/>
                    <a:pt x="880126" y="1479205"/>
                    <a:pt x="855878" y="1463040"/>
                  </a:cubicBezTo>
                  <a:cubicBezTo>
                    <a:pt x="852221" y="1458163"/>
                    <a:pt x="848808" y="1453093"/>
                    <a:pt x="844906" y="1448410"/>
                  </a:cubicBezTo>
                  <a:cubicBezTo>
                    <a:pt x="842698" y="1445761"/>
                    <a:pt x="839364" y="1444052"/>
                    <a:pt x="837590" y="1441095"/>
                  </a:cubicBezTo>
                  <a:cubicBezTo>
                    <a:pt x="825811" y="1421464"/>
                    <a:pt x="844817" y="1437378"/>
                    <a:pt x="822960" y="1422807"/>
                  </a:cubicBezTo>
                  <a:cubicBezTo>
                    <a:pt x="820522" y="1419149"/>
                    <a:pt x="817611" y="1415766"/>
                    <a:pt x="815645" y="1411834"/>
                  </a:cubicBezTo>
                  <a:cubicBezTo>
                    <a:pt x="813921" y="1408385"/>
                    <a:pt x="814396" y="1403872"/>
                    <a:pt x="811987" y="1400861"/>
                  </a:cubicBezTo>
                  <a:cubicBezTo>
                    <a:pt x="809241" y="1397428"/>
                    <a:pt x="804672" y="1395984"/>
                    <a:pt x="801014" y="1393546"/>
                  </a:cubicBezTo>
                  <a:cubicBezTo>
                    <a:pt x="798576" y="1389888"/>
                    <a:pt x="795665" y="1386505"/>
                    <a:pt x="793699" y="1382573"/>
                  </a:cubicBezTo>
                  <a:cubicBezTo>
                    <a:pt x="791975" y="1379125"/>
                    <a:pt x="792181" y="1374808"/>
                    <a:pt x="790042" y="1371600"/>
                  </a:cubicBezTo>
                  <a:cubicBezTo>
                    <a:pt x="787173" y="1367296"/>
                    <a:pt x="782727" y="1364285"/>
                    <a:pt x="779069" y="1360627"/>
                  </a:cubicBezTo>
                  <a:cubicBezTo>
                    <a:pt x="778387" y="1357900"/>
                    <a:pt x="774000" y="1338768"/>
                    <a:pt x="771754" y="1335024"/>
                  </a:cubicBezTo>
                  <a:cubicBezTo>
                    <a:pt x="769980" y="1332067"/>
                    <a:pt x="766592" y="1330402"/>
                    <a:pt x="764438" y="1327709"/>
                  </a:cubicBezTo>
                  <a:cubicBezTo>
                    <a:pt x="761692" y="1324276"/>
                    <a:pt x="759561" y="1320394"/>
                    <a:pt x="757123" y="1316736"/>
                  </a:cubicBezTo>
                  <a:cubicBezTo>
                    <a:pt x="748103" y="1280650"/>
                    <a:pt x="760126" y="1318084"/>
                    <a:pt x="746150" y="1294791"/>
                  </a:cubicBezTo>
                  <a:cubicBezTo>
                    <a:pt x="744166" y="1291485"/>
                    <a:pt x="744012" y="1287362"/>
                    <a:pt x="742493" y="1283818"/>
                  </a:cubicBezTo>
                  <a:cubicBezTo>
                    <a:pt x="740345" y="1278806"/>
                    <a:pt x="737203" y="1274250"/>
                    <a:pt x="735178" y="1269187"/>
                  </a:cubicBezTo>
                  <a:cubicBezTo>
                    <a:pt x="732314" y="1262028"/>
                    <a:pt x="732139" y="1253658"/>
                    <a:pt x="727862" y="1247242"/>
                  </a:cubicBezTo>
                  <a:cubicBezTo>
                    <a:pt x="720516" y="1236222"/>
                    <a:pt x="718801" y="1234632"/>
                    <a:pt x="713232" y="1221639"/>
                  </a:cubicBezTo>
                  <a:cubicBezTo>
                    <a:pt x="711713" y="1218095"/>
                    <a:pt x="711983" y="1213677"/>
                    <a:pt x="709574" y="1210666"/>
                  </a:cubicBezTo>
                  <a:cubicBezTo>
                    <a:pt x="706828" y="1207234"/>
                    <a:pt x="702034" y="1206097"/>
                    <a:pt x="698602" y="1203351"/>
                  </a:cubicBezTo>
                  <a:cubicBezTo>
                    <a:pt x="681809" y="1189916"/>
                    <a:pt x="701716" y="1202699"/>
                    <a:pt x="683971" y="1181405"/>
                  </a:cubicBezTo>
                  <a:cubicBezTo>
                    <a:pt x="681157" y="1178028"/>
                    <a:pt x="675955" y="1177343"/>
                    <a:pt x="672998" y="1174090"/>
                  </a:cubicBezTo>
                  <a:cubicBezTo>
                    <a:pt x="663647" y="1163804"/>
                    <a:pt x="657225" y="1151000"/>
                    <a:pt x="647395" y="1141171"/>
                  </a:cubicBezTo>
                  <a:lnTo>
                    <a:pt x="618134" y="1111911"/>
                  </a:lnTo>
                  <a:cubicBezTo>
                    <a:pt x="615695" y="1109472"/>
                    <a:pt x="613688" y="1106508"/>
                    <a:pt x="610819" y="1104595"/>
                  </a:cubicBezTo>
                  <a:lnTo>
                    <a:pt x="588874" y="1089965"/>
                  </a:lnTo>
                  <a:cubicBezTo>
                    <a:pt x="585216" y="1087527"/>
                    <a:pt x="582071" y="1084040"/>
                    <a:pt x="577901" y="1082650"/>
                  </a:cubicBezTo>
                  <a:cubicBezTo>
                    <a:pt x="574243" y="1081431"/>
                    <a:pt x="570377" y="1080716"/>
                    <a:pt x="566928" y="1078992"/>
                  </a:cubicBezTo>
                  <a:cubicBezTo>
                    <a:pt x="553305" y="1072181"/>
                    <a:pt x="557117" y="1070816"/>
                    <a:pt x="544982" y="1060704"/>
                  </a:cubicBezTo>
                  <a:cubicBezTo>
                    <a:pt x="541605" y="1057890"/>
                    <a:pt x="537442" y="1056135"/>
                    <a:pt x="534010" y="1053389"/>
                  </a:cubicBezTo>
                  <a:cubicBezTo>
                    <a:pt x="531317" y="1051235"/>
                    <a:pt x="529651" y="1047848"/>
                    <a:pt x="526694" y="1046074"/>
                  </a:cubicBezTo>
                  <a:cubicBezTo>
                    <a:pt x="523388" y="1044090"/>
                    <a:pt x="519379" y="1043635"/>
                    <a:pt x="515722" y="1042416"/>
                  </a:cubicBezTo>
                  <a:cubicBezTo>
                    <a:pt x="489571" y="1003192"/>
                    <a:pt x="530300" y="1062727"/>
                    <a:pt x="497434" y="1020471"/>
                  </a:cubicBezTo>
                  <a:cubicBezTo>
                    <a:pt x="468734" y="983571"/>
                    <a:pt x="493584" y="1012849"/>
                    <a:pt x="475488" y="983895"/>
                  </a:cubicBezTo>
                  <a:cubicBezTo>
                    <a:pt x="471343" y="977263"/>
                    <a:pt x="461071" y="966032"/>
                    <a:pt x="457200" y="958291"/>
                  </a:cubicBezTo>
                  <a:cubicBezTo>
                    <a:pt x="455476" y="954843"/>
                    <a:pt x="455266" y="950767"/>
                    <a:pt x="453542" y="947319"/>
                  </a:cubicBezTo>
                  <a:cubicBezTo>
                    <a:pt x="451576" y="943387"/>
                    <a:pt x="448408" y="940163"/>
                    <a:pt x="446227" y="936346"/>
                  </a:cubicBezTo>
                  <a:cubicBezTo>
                    <a:pt x="443522" y="931612"/>
                    <a:pt x="441060" y="926727"/>
                    <a:pt x="438912" y="921715"/>
                  </a:cubicBezTo>
                  <a:cubicBezTo>
                    <a:pt x="437393" y="918171"/>
                    <a:pt x="437567" y="913827"/>
                    <a:pt x="435254" y="910743"/>
                  </a:cubicBezTo>
                  <a:cubicBezTo>
                    <a:pt x="430081" y="903846"/>
                    <a:pt x="423062" y="898551"/>
                    <a:pt x="416966" y="892455"/>
                  </a:cubicBezTo>
                  <a:lnTo>
                    <a:pt x="409651" y="885139"/>
                  </a:lnTo>
                  <a:cubicBezTo>
                    <a:pt x="408432" y="881482"/>
                    <a:pt x="407718" y="877615"/>
                    <a:pt x="405994" y="874167"/>
                  </a:cubicBezTo>
                  <a:cubicBezTo>
                    <a:pt x="404028" y="870235"/>
                    <a:pt x="400410" y="867235"/>
                    <a:pt x="398678" y="863194"/>
                  </a:cubicBezTo>
                  <a:cubicBezTo>
                    <a:pt x="396698" y="858573"/>
                    <a:pt x="397269" y="853059"/>
                    <a:pt x="395021" y="848563"/>
                  </a:cubicBezTo>
                  <a:cubicBezTo>
                    <a:pt x="391089" y="840699"/>
                    <a:pt x="380390" y="826618"/>
                    <a:pt x="380390" y="826618"/>
                  </a:cubicBezTo>
                  <a:cubicBezTo>
                    <a:pt x="367061" y="786625"/>
                    <a:pt x="388314" y="847187"/>
                    <a:pt x="369418" y="804672"/>
                  </a:cubicBezTo>
                  <a:cubicBezTo>
                    <a:pt x="366286" y="797626"/>
                    <a:pt x="367554" y="788180"/>
                    <a:pt x="362102" y="782727"/>
                  </a:cubicBezTo>
                  <a:cubicBezTo>
                    <a:pt x="359664" y="780288"/>
                    <a:pt x="356561" y="778368"/>
                    <a:pt x="354787" y="775411"/>
                  </a:cubicBezTo>
                  <a:cubicBezTo>
                    <a:pt x="349177" y="766060"/>
                    <a:pt x="343606" y="756496"/>
                    <a:pt x="340157" y="746151"/>
                  </a:cubicBezTo>
                  <a:cubicBezTo>
                    <a:pt x="338938" y="742493"/>
                    <a:pt x="338371" y="738548"/>
                    <a:pt x="336499" y="735178"/>
                  </a:cubicBezTo>
                  <a:cubicBezTo>
                    <a:pt x="332229" y="727493"/>
                    <a:pt x="326746" y="720547"/>
                    <a:pt x="321869" y="713232"/>
                  </a:cubicBezTo>
                  <a:cubicBezTo>
                    <a:pt x="319431" y="709574"/>
                    <a:pt x="318212" y="704697"/>
                    <a:pt x="314554" y="702259"/>
                  </a:cubicBezTo>
                  <a:cubicBezTo>
                    <a:pt x="310896" y="699821"/>
                    <a:pt x="306958" y="697758"/>
                    <a:pt x="303581" y="694944"/>
                  </a:cubicBezTo>
                  <a:cubicBezTo>
                    <a:pt x="299607" y="691633"/>
                    <a:pt x="297235" y="686284"/>
                    <a:pt x="292608" y="683971"/>
                  </a:cubicBezTo>
                  <a:cubicBezTo>
                    <a:pt x="287048" y="681191"/>
                    <a:pt x="280416" y="681533"/>
                    <a:pt x="274320" y="680314"/>
                  </a:cubicBezTo>
                  <a:cubicBezTo>
                    <a:pt x="270662" y="676656"/>
                    <a:pt x="267651" y="672210"/>
                    <a:pt x="263347" y="669341"/>
                  </a:cubicBezTo>
                  <a:cubicBezTo>
                    <a:pt x="260139" y="667202"/>
                    <a:pt x="255822" y="667407"/>
                    <a:pt x="252374" y="665683"/>
                  </a:cubicBezTo>
                  <a:cubicBezTo>
                    <a:pt x="248442" y="663717"/>
                    <a:pt x="245334" y="660334"/>
                    <a:pt x="241402" y="658368"/>
                  </a:cubicBezTo>
                  <a:cubicBezTo>
                    <a:pt x="235530" y="655432"/>
                    <a:pt x="229210" y="653491"/>
                    <a:pt x="223114" y="651053"/>
                  </a:cubicBezTo>
                  <a:cubicBezTo>
                    <a:pt x="205444" y="633385"/>
                    <a:pt x="227903" y="654885"/>
                    <a:pt x="204826" y="636423"/>
                  </a:cubicBezTo>
                  <a:cubicBezTo>
                    <a:pt x="202133" y="634269"/>
                    <a:pt x="200467" y="630881"/>
                    <a:pt x="197510" y="629107"/>
                  </a:cubicBezTo>
                  <a:cubicBezTo>
                    <a:pt x="194204" y="627124"/>
                    <a:pt x="190195" y="626669"/>
                    <a:pt x="186538" y="625450"/>
                  </a:cubicBezTo>
                  <a:cubicBezTo>
                    <a:pt x="181661" y="620573"/>
                    <a:pt x="177646" y="614645"/>
                    <a:pt x="171907" y="610819"/>
                  </a:cubicBezTo>
                  <a:cubicBezTo>
                    <a:pt x="168249" y="608381"/>
                    <a:pt x="164242" y="606399"/>
                    <a:pt x="160934" y="603504"/>
                  </a:cubicBezTo>
                  <a:cubicBezTo>
                    <a:pt x="134723" y="580570"/>
                    <a:pt x="153557" y="587943"/>
                    <a:pt x="128016" y="581559"/>
                  </a:cubicBezTo>
                  <a:cubicBezTo>
                    <a:pt x="114346" y="561053"/>
                    <a:pt x="128342" y="579410"/>
                    <a:pt x="106070" y="559613"/>
                  </a:cubicBezTo>
                  <a:cubicBezTo>
                    <a:pt x="88564" y="544052"/>
                    <a:pt x="90580" y="545523"/>
                    <a:pt x="80467" y="530352"/>
                  </a:cubicBezTo>
                  <a:lnTo>
                    <a:pt x="73152" y="508407"/>
                  </a:lnTo>
                  <a:cubicBezTo>
                    <a:pt x="71933" y="504749"/>
                    <a:pt x="72220" y="500160"/>
                    <a:pt x="69494" y="497434"/>
                  </a:cubicBezTo>
                  <a:lnTo>
                    <a:pt x="58522" y="486461"/>
                  </a:lnTo>
                  <a:cubicBezTo>
                    <a:pt x="57303" y="482803"/>
                    <a:pt x="56588" y="478937"/>
                    <a:pt x="54864" y="475488"/>
                  </a:cubicBezTo>
                  <a:cubicBezTo>
                    <a:pt x="52898" y="471556"/>
                    <a:pt x="49334" y="468532"/>
                    <a:pt x="47549" y="464515"/>
                  </a:cubicBezTo>
                  <a:cubicBezTo>
                    <a:pt x="34101" y="434257"/>
                    <a:pt x="47942" y="450277"/>
                    <a:pt x="32918" y="435255"/>
                  </a:cubicBezTo>
                  <a:cubicBezTo>
                    <a:pt x="31699" y="427940"/>
                    <a:pt x="30870" y="420549"/>
                    <a:pt x="29261" y="413309"/>
                  </a:cubicBezTo>
                  <a:cubicBezTo>
                    <a:pt x="28425" y="409545"/>
                    <a:pt x="26662" y="406043"/>
                    <a:pt x="25603" y="402336"/>
                  </a:cubicBezTo>
                  <a:cubicBezTo>
                    <a:pt x="22162" y="390293"/>
                    <a:pt x="20800" y="381976"/>
                    <a:pt x="18288" y="369418"/>
                  </a:cubicBezTo>
                  <a:cubicBezTo>
                    <a:pt x="16197" y="344328"/>
                    <a:pt x="13184" y="297799"/>
                    <a:pt x="7315" y="274320"/>
                  </a:cubicBezTo>
                  <a:cubicBezTo>
                    <a:pt x="2723" y="255950"/>
                    <a:pt x="5248" y="264459"/>
                    <a:pt x="0" y="248717"/>
                  </a:cubicBezTo>
                  <a:cubicBezTo>
                    <a:pt x="1219" y="226771"/>
                    <a:pt x="688" y="204658"/>
                    <a:pt x="3658" y="182880"/>
                  </a:cubicBezTo>
                  <a:cubicBezTo>
                    <a:pt x="4395" y="177478"/>
                    <a:pt x="9059" y="173355"/>
                    <a:pt x="10973" y="168250"/>
                  </a:cubicBezTo>
                  <a:cubicBezTo>
                    <a:pt x="12738" y="163543"/>
                    <a:pt x="13411" y="158496"/>
                    <a:pt x="14630" y="153619"/>
                  </a:cubicBezTo>
                  <a:cubicBezTo>
                    <a:pt x="15849" y="129235"/>
                    <a:pt x="13677" y="104442"/>
                    <a:pt x="18288" y="80467"/>
                  </a:cubicBezTo>
                  <a:cubicBezTo>
                    <a:pt x="22112" y="60581"/>
                    <a:pt x="32225" y="60540"/>
                    <a:pt x="43891" y="51207"/>
                  </a:cubicBezTo>
                  <a:cubicBezTo>
                    <a:pt x="46584" y="49053"/>
                    <a:pt x="48249" y="45665"/>
                    <a:pt x="51206" y="43891"/>
                  </a:cubicBezTo>
                  <a:cubicBezTo>
                    <a:pt x="54512" y="41907"/>
                    <a:pt x="58521" y="41453"/>
                    <a:pt x="62179" y="40234"/>
                  </a:cubicBezTo>
                  <a:cubicBezTo>
                    <a:pt x="82979" y="19434"/>
                    <a:pt x="62952" y="36189"/>
                    <a:pt x="84125" y="25603"/>
                  </a:cubicBezTo>
                  <a:cubicBezTo>
                    <a:pt x="110511" y="12410"/>
                    <a:pt x="77676" y="23793"/>
                    <a:pt x="109728" y="10973"/>
                  </a:cubicBezTo>
                  <a:cubicBezTo>
                    <a:pt x="116888" y="8109"/>
                    <a:pt x="124359" y="6097"/>
                    <a:pt x="131674" y="3658"/>
                  </a:cubicBezTo>
                  <a:lnTo>
                    <a:pt x="142646" y="0"/>
                  </a:lnTo>
                  <a:cubicBezTo>
                    <a:pt x="158496" y="1219"/>
                    <a:pt x="174822" y="-388"/>
                    <a:pt x="190195" y="3658"/>
                  </a:cubicBezTo>
                  <a:cubicBezTo>
                    <a:pt x="198697" y="5895"/>
                    <a:pt x="203800" y="15508"/>
                    <a:pt x="212141" y="18288"/>
                  </a:cubicBezTo>
                  <a:cubicBezTo>
                    <a:pt x="215799" y="19507"/>
                    <a:pt x="219666" y="20222"/>
                    <a:pt x="223114" y="21946"/>
                  </a:cubicBezTo>
                  <a:cubicBezTo>
                    <a:pt x="227046" y="23912"/>
                    <a:pt x="230069" y="27476"/>
                    <a:pt x="234086" y="29261"/>
                  </a:cubicBezTo>
                  <a:cubicBezTo>
                    <a:pt x="241132" y="32393"/>
                    <a:pt x="256032" y="36576"/>
                    <a:pt x="256032" y="36576"/>
                  </a:cubicBezTo>
                  <a:lnTo>
                    <a:pt x="340157" y="32919"/>
                  </a:lnTo>
                  <a:lnTo>
                    <a:pt x="490118" y="29261"/>
                  </a:lnTo>
                  <a:cubicBezTo>
                    <a:pt x="498555" y="28902"/>
                    <a:pt x="517386" y="24605"/>
                    <a:pt x="526694" y="21946"/>
                  </a:cubicBezTo>
                  <a:cubicBezTo>
                    <a:pt x="530401" y="20887"/>
                    <a:pt x="533960" y="19347"/>
                    <a:pt x="537667" y="18288"/>
                  </a:cubicBezTo>
                  <a:cubicBezTo>
                    <a:pt x="549708" y="14848"/>
                    <a:pt x="558030" y="13484"/>
                    <a:pt x="570586" y="10973"/>
                  </a:cubicBezTo>
                  <a:cubicBezTo>
                    <a:pt x="583997" y="12192"/>
                    <a:pt x="597488" y="12727"/>
                    <a:pt x="610819" y="14631"/>
                  </a:cubicBezTo>
                  <a:cubicBezTo>
                    <a:pt x="615253" y="15264"/>
                    <a:pt x="639954" y="25540"/>
                    <a:pt x="640080" y="25603"/>
                  </a:cubicBezTo>
                  <a:cubicBezTo>
                    <a:pt x="644012" y="27569"/>
                    <a:pt x="647236" y="30738"/>
                    <a:pt x="651053" y="32919"/>
                  </a:cubicBezTo>
                  <a:cubicBezTo>
                    <a:pt x="659203" y="37576"/>
                    <a:pt x="670514" y="43435"/>
                    <a:pt x="680314" y="43891"/>
                  </a:cubicBezTo>
                  <a:cubicBezTo>
                    <a:pt x="727827" y="46101"/>
                    <a:pt x="775411" y="46330"/>
                    <a:pt x="822960" y="47549"/>
                  </a:cubicBezTo>
                  <a:lnTo>
                    <a:pt x="844906" y="54864"/>
                  </a:lnTo>
                  <a:cubicBezTo>
                    <a:pt x="848563" y="56083"/>
                    <a:pt x="852430" y="56798"/>
                    <a:pt x="855878" y="58522"/>
                  </a:cubicBezTo>
                  <a:cubicBezTo>
                    <a:pt x="860755" y="60960"/>
                    <a:pt x="865775" y="63132"/>
                    <a:pt x="870509" y="65837"/>
                  </a:cubicBezTo>
                  <a:cubicBezTo>
                    <a:pt x="874326" y="68018"/>
                    <a:pt x="877550" y="71186"/>
                    <a:pt x="881482" y="73152"/>
                  </a:cubicBezTo>
                  <a:cubicBezTo>
                    <a:pt x="884930" y="74876"/>
                    <a:pt x="889006" y="75086"/>
                    <a:pt x="892454" y="76810"/>
                  </a:cubicBezTo>
                  <a:cubicBezTo>
                    <a:pt x="929183" y="95175"/>
                    <a:pt x="873176" y="72204"/>
                    <a:pt x="918058" y="91440"/>
                  </a:cubicBezTo>
                  <a:cubicBezTo>
                    <a:pt x="921602" y="92959"/>
                    <a:pt x="925273" y="94231"/>
                    <a:pt x="929030" y="95098"/>
                  </a:cubicBezTo>
                  <a:cubicBezTo>
                    <a:pt x="941145" y="97894"/>
                    <a:pt x="965606" y="102413"/>
                    <a:pt x="965606" y="102413"/>
                  </a:cubicBezTo>
                  <a:cubicBezTo>
                    <a:pt x="969264" y="104851"/>
                    <a:pt x="972647" y="107762"/>
                    <a:pt x="976579" y="109728"/>
                  </a:cubicBezTo>
                  <a:cubicBezTo>
                    <a:pt x="982451" y="112664"/>
                    <a:pt x="988606" y="115066"/>
                    <a:pt x="994867" y="117043"/>
                  </a:cubicBezTo>
                  <a:cubicBezTo>
                    <a:pt x="1011795" y="122389"/>
                    <a:pt x="1028667" y="128193"/>
                    <a:pt x="1046074" y="131674"/>
                  </a:cubicBezTo>
                  <a:cubicBezTo>
                    <a:pt x="1069291" y="136317"/>
                    <a:pt x="1058331" y="133823"/>
                    <a:pt x="1078992" y="138989"/>
                  </a:cubicBezTo>
                  <a:cubicBezTo>
                    <a:pt x="1082650" y="142647"/>
                    <a:pt x="1085443" y="147450"/>
                    <a:pt x="1089965" y="149962"/>
                  </a:cubicBezTo>
                  <a:cubicBezTo>
                    <a:pt x="1096705" y="153707"/>
                    <a:pt x="1111910" y="157277"/>
                    <a:pt x="1111910" y="157277"/>
                  </a:cubicBezTo>
                  <a:cubicBezTo>
                    <a:pt x="1114349" y="159715"/>
                    <a:pt x="1116269" y="162818"/>
                    <a:pt x="1119226" y="164592"/>
                  </a:cubicBezTo>
                  <a:cubicBezTo>
                    <a:pt x="1122532" y="166576"/>
                    <a:pt x="1126750" y="166526"/>
                    <a:pt x="1130198" y="168250"/>
                  </a:cubicBezTo>
                  <a:cubicBezTo>
                    <a:pt x="1134130" y="170216"/>
                    <a:pt x="1137513" y="173127"/>
                    <a:pt x="1141171" y="175565"/>
                  </a:cubicBezTo>
                  <a:cubicBezTo>
                    <a:pt x="1142390" y="179223"/>
                    <a:pt x="1144829" y="182682"/>
                    <a:pt x="1144829" y="186538"/>
                  </a:cubicBezTo>
                  <a:cubicBezTo>
                    <a:pt x="1144829" y="221381"/>
                    <a:pt x="1142935" y="221479"/>
                    <a:pt x="1133856" y="248717"/>
                  </a:cubicBezTo>
                  <a:lnTo>
                    <a:pt x="1122883" y="281635"/>
                  </a:lnTo>
                  <a:cubicBezTo>
                    <a:pt x="1121664" y="285293"/>
                    <a:pt x="1121952" y="289882"/>
                    <a:pt x="1119226" y="292608"/>
                  </a:cubicBezTo>
                  <a:cubicBezTo>
                    <a:pt x="1114349" y="297485"/>
                    <a:pt x="1107679" y="301070"/>
                    <a:pt x="1104595" y="307239"/>
                  </a:cubicBezTo>
                  <a:cubicBezTo>
                    <a:pt x="1095314" y="325801"/>
                    <a:pt x="1101817" y="318845"/>
                    <a:pt x="1086307" y="329184"/>
                  </a:cubicBezTo>
                  <a:cubicBezTo>
                    <a:pt x="1070142" y="353432"/>
                    <a:pt x="1089138" y="326492"/>
                    <a:pt x="1068019" y="351130"/>
                  </a:cubicBezTo>
                  <a:cubicBezTo>
                    <a:pt x="1039858" y="383983"/>
                    <a:pt x="1073307" y="349498"/>
                    <a:pt x="1046074" y="376733"/>
                  </a:cubicBezTo>
                  <a:cubicBezTo>
                    <a:pt x="1043635" y="382829"/>
                    <a:pt x="1041002" y="388851"/>
                    <a:pt x="1038758" y="395021"/>
                  </a:cubicBezTo>
                  <a:cubicBezTo>
                    <a:pt x="1036123" y="402268"/>
                    <a:pt x="1034891" y="410070"/>
                    <a:pt x="1031443" y="416967"/>
                  </a:cubicBezTo>
                  <a:cubicBezTo>
                    <a:pt x="1029005" y="421844"/>
                    <a:pt x="1026833" y="426863"/>
                    <a:pt x="1024128" y="431597"/>
                  </a:cubicBezTo>
                  <a:cubicBezTo>
                    <a:pt x="1019297" y="440051"/>
                    <a:pt x="1013622" y="447491"/>
                    <a:pt x="1005840" y="453543"/>
                  </a:cubicBezTo>
                  <a:cubicBezTo>
                    <a:pt x="986976" y="468214"/>
                    <a:pt x="989476" y="466312"/>
                    <a:pt x="972922" y="471831"/>
                  </a:cubicBezTo>
                  <a:cubicBezTo>
                    <a:pt x="966826" y="477927"/>
                    <a:pt x="962345" y="486264"/>
                    <a:pt x="954634" y="490119"/>
                  </a:cubicBezTo>
                  <a:cubicBezTo>
                    <a:pt x="936071" y="499400"/>
                    <a:pt x="944540" y="494410"/>
                    <a:pt x="929030" y="504749"/>
                  </a:cubicBezTo>
                  <a:cubicBezTo>
                    <a:pt x="910872" y="531987"/>
                    <a:pt x="934206" y="498539"/>
                    <a:pt x="910742" y="526695"/>
                  </a:cubicBezTo>
                  <a:cubicBezTo>
                    <a:pt x="907928" y="530072"/>
                    <a:pt x="906173" y="534235"/>
                    <a:pt x="903427" y="537667"/>
                  </a:cubicBezTo>
                  <a:cubicBezTo>
                    <a:pt x="901273" y="540360"/>
                    <a:pt x="898320" y="542334"/>
                    <a:pt x="896112" y="544983"/>
                  </a:cubicBezTo>
                  <a:cubicBezTo>
                    <a:pt x="892210" y="549666"/>
                    <a:pt x="888635" y="554619"/>
                    <a:pt x="885139" y="559613"/>
                  </a:cubicBezTo>
                  <a:cubicBezTo>
                    <a:pt x="880097" y="566816"/>
                    <a:pt x="875386" y="574244"/>
                    <a:pt x="870509" y="581559"/>
                  </a:cubicBezTo>
                  <a:lnTo>
                    <a:pt x="848563" y="614477"/>
                  </a:lnTo>
                  <a:lnTo>
                    <a:pt x="833933" y="636423"/>
                  </a:lnTo>
                  <a:cubicBezTo>
                    <a:pt x="831495" y="640080"/>
                    <a:pt x="829726" y="644287"/>
                    <a:pt x="826618" y="647395"/>
                  </a:cubicBezTo>
                  <a:lnTo>
                    <a:pt x="819302" y="654711"/>
                  </a:lnTo>
                  <a:cubicBezTo>
                    <a:pt x="820521" y="671780"/>
                    <a:pt x="820422" y="688994"/>
                    <a:pt x="822960" y="705917"/>
                  </a:cubicBezTo>
                  <a:cubicBezTo>
                    <a:pt x="827892" y="738795"/>
                    <a:pt x="828148" y="717593"/>
                    <a:pt x="837590" y="738835"/>
                  </a:cubicBezTo>
                  <a:cubicBezTo>
                    <a:pt x="840722" y="745881"/>
                    <a:pt x="842468" y="753466"/>
                    <a:pt x="844906" y="760781"/>
                  </a:cubicBezTo>
                  <a:cubicBezTo>
                    <a:pt x="846125" y="764439"/>
                    <a:pt x="846424" y="768546"/>
                    <a:pt x="848563" y="771754"/>
                  </a:cubicBezTo>
                  <a:lnTo>
                    <a:pt x="863194" y="793699"/>
                  </a:lnTo>
                  <a:lnTo>
                    <a:pt x="870509" y="815645"/>
                  </a:lnTo>
                  <a:cubicBezTo>
                    <a:pt x="871728" y="819303"/>
                    <a:pt x="871440" y="823892"/>
                    <a:pt x="874166" y="826618"/>
                  </a:cubicBezTo>
                  <a:lnTo>
                    <a:pt x="881482" y="833933"/>
                  </a:lnTo>
                  <a:cubicBezTo>
                    <a:pt x="883920" y="838810"/>
                    <a:pt x="886092" y="843829"/>
                    <a:pt x="888797" y="848563"/>
                  </a:cubicBezTo>
                  <a:cubicBezTo>
                    <a:pt x="890978" y="852380"/>
                    <a:pt x="894380" y="855496"/>
                    <a:pt x="896112" y="859536"/>
                  </a:cubicBezTo>
                  <a:cubicBezTo>
                    <a:pt x="898092" y="864157"/>
                    <a:pt x="897790" y="869546"/>
                    <a:pt x="899770" y="874167"/>
                  </a:cubicBezTo>
                  <a:cubicBezTo>
                    <a:pt x="903230" y="882239"/>
                    <a:pt x="908503" y="886557"/>
                    <a:pt x="914400" y="892455"/>
                  </a:cubicBezTo>
                  <a:cubicBezTo>
                    <a:pt x="915619" y="896112"/>
                    <a:pt x="916186" y="900057"/>
                    <a:pt x="918058" y="903427"/>
                  </a:cubicBezTo>
                  <a:cubicBezTo>
                    <a:pt x="921861" y="910272"/>
                    <a:pt x="937264" y="932327"/>
                    <a:pt x="943661" y="940003"/>
                  </a:cubicBezTo>
                  <a:cubicBezTo>
                    <a:pt x="945869" y="942652"/>
                    <a:pt x="948538" y="944880"/>
                    <a:pt x="950976" y="947319"/>
                  </a:cubicBezTo>
                  <a:cubicBezTo>
                    <a:pt x="954760" y="958668"/>
                    <a:pt x="955171" y="961626"/>
                    <a:pt x="961949" y="972922"/>
                  </a:cubicBezTo>
                  <a:cubicBezTo>
                    <a:pt x="966472" y="980461"/>
                    <a:pt x="970362" y="988650"/>
                    <a:pt x="976579" y="994867"/>
                  </a:cubicBezTo>
                  <a:cubicBezTo>
                    <a:pt x="981456" y="999744"/>
                    <a:pt x="985296" y="1005949"/>
                    <a:pt x="991210" y="1009498"/>
                  </a:cubicBezTo>
                  <a:cubicBezTo>
                    <a:pt x="997306" y="1013156"/>
                    <a:pt x="1003947" y="1016030"/>
                    <a:pt x="1009498" y="1020471"/>
                  </a:cubicBezTo>
                  <a:cubicBezTo>
                    <a:pt x="1024781" y="1032697"/>
                    <a:pt x="1026121" y="1036262"/>
                    <a:pt x="1035101" y="1049731"/>
                  </a:cubicBezTo>
                  <a:lnTo>
                    <a:pt x="1042416" y="1071677"/>
                  </a:lnTo>
                  <a:cubicBezTo>
                    <a:pt x="1043635" y="1075335"/>
                    <a:pt x="1045318" y="1078869"/>
                    <a:pt x="1046074" y="1082650"/>
                  </a:cubicBezTo>
                  <a:lnTo>
                    <a:pt x="1049731" y="1100938"/>
                  </a:lnTo>
                  <a:cubicBezTo>
                    <a:pt x="1054183" y="1154353"/>
                    <a:pt x="1055166" y="1138961"/>
                    <a:pt x="1049731" y="1196035"/>
                  </a:cubicBezTo>
                  <a:cubicBezTo>
                    <a:pt x="1049348" y="1200061"/>
                    <a:pt x="1047093" y="1224816"/>
                    <a:pt x="1042416" y="1232611"/>
                  </a:cubicBezTo>
                  <a:cubicBezTo>
                    <a:pt x="1040642" y="1235568"/>
                    <a:pt x="1037539" y="1237488"/>
                    <a:pt x="1035101" y="1239927"/>
                  </a:cubicBezTo>
                  <a:cubicBezTo>
                    <a:pt x="1033931" y="1244607"/>
                    <a:pt x="1030407" y="1260288"/>
                    <a:pt x="1027786" y="1265530"/>
                  </a:cubicBezTo>
                  <a:cubicBezTo>
                    <a:pt x="1025820" y="1269462"/>
                    <a:pt x="1022909" y="1272845"/>
                    <a:pt x="1020470" y="1276503"/>
                  </a:cubicBezTo>
                  <a:lnTo>
                    <a:pt x="1013155" y="1298448"/>
                  </a:lnTo>
                  <a:lnTo>
                    <a:pt x="1009498" y="1309421"/>
                  </a:lnTo>
                  <a:cubicBezTo>
                    <a:pt x="1010717" y="1326490"/>
                    <a:pt x="1011265" y="1343620"/>
                    <a:pt x="1013155" y="1360627"/>
                  </a:cubicBezTo>
                  <a:cubicBezTo>
                    <a:pt x="1013710" y="1365623"/>
                    <a:pt x="1014319" y="1370893"/>
                    <a:pt x="1016813" y="1375258"/>
                  </a:cubicBezTo>
                  <a:cubicBezTo>
                    <a:pt x="1019379" y="1379749"/>
                    <a:pt x="1024779" y="1382022"/>
                    <a:pt x="1027786" y="1386231"/>
                  </a:cubicBezTo>
                  <a:cubicBezTo>
                    <a:pt x="1030955" y="1390668"/>
                    <a:pt x="1031932" y="1396424"/>
                    <a:pt x="1035101" y="1400861"/>
                  </a:cubicBezTo>
                  <a:cubicBezTo>
                    <a:pt x="1042914" y="1411800"/>
                    <a:pt x="1057706" y="1419589"/>
                    <a:pt x="1068019" y="1426464"/>
                  </a:cubicBezTo>
                  <a:lnTo>
                    <a:pt x="1078992" y="1433779"/>
                  </a:lnTo>
                  <a:cubicBezTo>
                    <a:pt x="1099955" y="1465226"/>
                    <a:pt x="1074822" y="1425438"/>
                    <a:pt x="1089965" y="1455725"/>
                  </a:cubicBezTo>
                  <a:cubicBezTo>
                    <a:pt x="1099641" y="1475077"/>
                    <a:pt x="1094770" y="1458794"/>
                    <a:pt x="1108253" y="1477671"/>
                  </a:cubicBezTo>
                  <a:cubicBezTo>
                    <a:pt x="1113902" y="1485579"/>
                    <a:pt x="1116241" y="1494320"/>
                    <a:pt x="1119226" y="1503274"/>
                  </a:cubicBezTo>
                  <a:cubicBezTo>
                    <a:pt x="1118007" y="1513028"/>
                    <a:pt x="1118154" y="1523052"/>
                    <a:pt x="1115568" y="1532535"/>
                  </a:cubicBezTo>
                  <a:cubicBezTo>
                    <a:pt x="1114411" y="1536776"/>
                    <a:pt x="1110999" y="1540075"/>
                    <a:pt x="1108253" y="1543507"/>
                  </a:cubicBezTo>
                  <a:cubicBezTo>
                    <a:pt x="1103716" y="1549179"/>
                    <a:pt x="1096305" y="1554968"/>
                    <a:pt x="1089965" y="1558138"/>
                  </a:cubicBezTo>
                  <a:cubicBezTo>
                    <a:pt x="1086517" y="1559862"/>
                    <a:pt x="1082650" y="1560576"/>
                    <a:pt x="1078992" y="1561795"/>
                  </a:cubicBezTo>
                  <a:cubicBezTo>
                    <a:pt x="1064705" y="1576084"/>
                    <a:pt x="1079696" y="1563273"/>
                    <a:pt x="1060704" y="1572768"/>
                  </a:cubicBezTo>
                  <a:cubicBezTo>
                    <a:pt x="1056772" y="1574734"/>
                    <a:pt x="1053663" y="1578117"/>
                    <a:pt x="1049731" y="1580083"/>
                  </a:cubicBezTo>
                  <a:cubicBezTo>
                    <a:pt x="1046282" y="1581807"/>
                    <a:pt x="1042206" y="1582017"/>
                    <a:pt x="1038758" y="1583741"/>
                  </a:cubicBezTo>
                  <a:cubicBezTo>
                    <a:pt x="1034826" y="1585707"/>
                    <a:pt x="1031803" y="1589271"/>
                    <a:pt x="1027786" y="1591056"/>
                  </a:cubicBezTo>
                  <a:cubicBezTo>
                    <a:pt x="1008725" y="1599528"/>
                    <a:pt x="985114" y="1621536"/>
                    <a:pt x="976579" y="1627632"/>
                  </a:cubicBezTo>
                  <a:close/>
                </a:path>
              </a:pathLst>
            </a:cu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r"/>
              <a:endPara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1" name="Полилиния 30"/>
            <p:cNvSpPr/>
            <p:nvPr/>
          </p:nvSpPr>
          <p:spPr>
            <a:xfrm>
              <a:off x="3906150" y="4750845"/>
              <a:ext cx="878586" cy="853974"/>
            </a:xfrm>
            <a:custGeom>
              <a:avLst/>
              <a:gdLst>
                <a:gd name="connsiteX0" fmla="*/ 122021 w 1530197"/>
                <a:gd name="connsiteY0" fmla="*/ 1000930 h 1165522"/>
                <a:gd name="connsiteX1" fmla="*/ 122021 w 1530197"/>
                <a:gd name="connsiteY1" fmla="*/ 1000930 h 1165522"/>
                <a:gd name="connsiteX2" fmla="*/ 111049 w 1530197"/>
                <a:gd name="connsiteY2" fmla="*/ 971669 h 1165522"/>
                <a:gd name="connsiteX3" fmla="*/ 107391 w 1530197"/>
                <a:gd name="connsiteY3" fmla="*/ 960697 h 1165522"/>
                <a:gd name="connsiteX4" fmla="*/ 100076 w 1530197"/>
                <a:gd name="connsiteY4" fmla="*/ 953381 h 1165522"/>
                <a:gd name="connsiteX5" fmla="*/ 92761 w 1530197"/>
                <a:gd name="connsiteY5" fmla="*/ 942409 h 1165522"/>
                <a:gd name="connsiteX6" fmla="*/ 89103 w 1530197"/>
                <a:gd name="connsiteY6" fmla="*/ 931436 h 1165522"/>
                <a:gd name="connsiteX7" fmla="*/ 81788 w 1530197"/>
                <a:gd name="connsiteY7" fmla="*/ 920463 h 1165522"/>
                <a:gd name="connsiteX8" fmla="*/ 78130 w 1530197"/>
                <a:gd name="connsiteY8" fmla="*/ 909490 h 1165522"/>
                <a:gd name="connsiteX9" fmla="*/ 45212 w 1530197"/>
                <a:gd name="connsiteY9" fmla="*/ 872914 h 1165522"/>
                <a:gd name="connsiteX10" fmla="*/ 34239 w 1530197"/>
                <a:gd name="connsiteY10" fmla="*/ 869257 h 1165522"/>
                <a:gd name="connsiteX11" fmla="*/ 15951 w 1530197"/>
                <a:gd name="connsiteY11" fmla="*/ 854626 h 1165522"/>
                <a:gd name="connsiteX12" fmla="*/ 4978 w 1530197"/>
                <a:gd name="connsiteY12" fmla="*/ 843653 h 1165522"/>
                <a:gd name="connsiteX13" fmla="*/ 4978 w 1530197"/>
                <a:gd name="connsiteY13" fmla="*/ 792447 h 1165522"/>
                <a:gd name="connsiteX14" fmla="*/ 30581 w 1530197"/>
                <a:gd name="connsiteY14" fmla="*/ 759529 h 1165522"/>
                <a:gd name="connsiteX15" fmla="*/ 37897 w 1530197"/>
                <a:gd name="connsiteY15" fmla="*/ 748556 h 1165522"/>
                <a:gd name="connsiteX16" fmla="*/ 56185 w 1530197"/>
                <a:gd name="connsiteY16" fmla="*/ 726610 h 1165522"/>
                <a:gd name="connsiteX17" fmla="*/ 63500 w 1530197"/>
                <a:gd name="connsiteY17" fmla="*/ 690034 h 1165522"/>
                <a:gd name="connsiteX18" fmla="*/ 67157 w 1530197"/>
                <a:gd name="connsiteY18" fmla="*/ 536415 h 1165522"/>
                <a:gd name="connsiteX19" fmla="*/ 78130 w 1530197"/>
                <a:gd name="connsiteY19" fmla="*/ 514469 h 1165522"/>
                <a:gd name="connsiteX20" fmla="*/ 85445 w 1530197"/>
                <a:gd name="connsiteY20" fmla="*/ 477893 h 1165522"/>
                <a:gd name="connsiteX21" fmla="*/ 78130 w 1530197"/>
                <a:gd name="connsiteY21" fmla="*/ 419372 h 1165522"/>
                <a:gd name="connsiteX22" fmla="*/ 74473 w 1530197"/>
                <a:gd name="connsiteY22" fmla="*/ 408399 h 1165522"/>
                <a:gd name="connsiteX23" fmla="*/ 67157 w 1530197"/>
                <a:gd name="connsiteY23" fmla="*/ 357193 h 1165522"/>
                <a:gd name="connsiteX24" fmla="*/ 70815 w 1530197"/>
                <a:gd name="connsiteY24" fmla="*/ 287698 h 1165522"/>
                <a:gd name="connsiteX25" fmla="*/ 78130 w 1530197"/>
                <a:gd name="connsiteY25" fmla="*/ 265753 h 1165522"/>
                <a:gd name="connsiteX26" fmla="*/ 85445 w 1530197"/>
                <a:gd name="connsiteY26" fmla="*/ 240149 h 1165522"/>
                <a:gd name="connsiteX27" fmla="*/ 92761 w 1530197"/>
                <a:gd name="connsiteY27" fmla="*/ 232834 h 1165522"/>
                <a:gd name="connsiteX28" fmla="*/ 103733 w 1530197"/>
                <a:gd name="connsiteY28" fmla="*/ 210889 h 1165522"/>
                <a:gd name="connsiteX29" fmla="*/ 111049 w 1530197"/>
                <a:gd name="connsiteY29" fmla="*/ 196258 h 1165522"/>
                <a:gd name="connsiteX30" fmla="*/ 122021 w 1530197"/>
                <a:gd name="connsiteY30" fmla="*/ 185285 h 1165522"/>
                <a:gd name="connsiteX31" fmla="*/ 129337 w 1530197"/>
                <a:gd name="connsiteY31" fmla="*/ 174313 h 1165522"/>
                <a:gd name="connsiteX32" fmla="*/ 147625 w 1530197"/>
                <a:gd name="connsiteY32" fmla="*/ 159682 h 1165522"/>
                <a:gd name="connsiteX33" fmla="*/ 169570 w 1530197"/>
                <a:gd name="connsiteY33" fmla="*/ 126764 h 1165522"/>
                <a:gd name="connsiteX34" fmla="*/ 176885 w 1530197"/>
                <a:gd name="connsiteY34" fmla="*/ 115791 h 1165522"/>
                <a:gd name="connsiteX35" fmla="*/ 195173 w 1530197"/>
                <a:gd name="connsiteY35" fmla="*/ 97503 h 1165522"/>
                <a:gd name="connsiteX36" fmla="*/ 202489 w 1530197"/>
                <a:gd name="connsiteY36" fmla="*/ 90188 h 1165522"/>
                <a:gd name="connsiteX37" fmla="*/ 213461 w 1530197"/>
                <a:gd name="connsiteY37" fmla="*/ 79215 h 1165522"/>
                <a:gd name="connsiteX38" fmla="*/ 224434 w 1530197"/>
                <a:gd name="connsiteY38" fmla="*/ 75557 h 1165522"/>
                <a:gd name="connsiteX39" fmla="*/ 231749 w 1530197"/>
                <a:gd name="connsiteY39" fmla="*/ 64585 h 1165522"/>
                <a:gd name="connsiteX40" fmla="*/ 239065 w 1530197"/>
                <a:gd name="connsiteY40" fmla="*/ 57269 h 1165522"/>
                <a:gd name="connsiteX41" fmla="*/ 246380 w 1530197"/>
                <a:gd name="connsiteY41" fmla="*/ 42639 h 1165522"/>
                <a:gd name="connsiteX42" fmla="*/ 268325 w 1530197"/>
                <a:gd name="connsiteY42" fmla="*/ 24351 h 1165522"/>
                <a:gd name="connsiteX43" fmla="*/ 282956 w 1530197"/>
                <a:gd name="connsiteY43" fmla="*/ 20693 h 1165522"/>
                <a:gd name="connsiteX44" fmla="*/ 293929 w 1530197"/>
                <a:gd name="connsiteY44" fmla="*/ 13378 h 1165522"/>
                <a:gd name="connsiteX45" fmla="*/ 304901 w 1530197"/>
                <a:gd name="connsiteY45" fmla="*/ 9721 h 1165522"/>
                <a:gd name="connsiteX46" fmla="*/ 462178 w 1530197"/>
                <a:gd name="connsiteY46" fmla="*/ 6063 h 1165522"/>
                <a:gd name="connsiteX47" fmla="*/ 524357 w 1530197"/>
                <a:gd name="connsiteY47" fmla="*/ 6063 h 1165522"/>
                <a:gd name="connsiteX48" fmla="*/ 538988 w 1530197"/>
                <a:gd name="connsiteY48" fmla="*/ 24351 h 1165522"/>
                <a:gd name="connsiteX49" fmla="*/ 560933 w 1530197"/>
                <a:gd name="connsiteY49" fmla="*/ 38981 h 1165522"/>
                <a:gd name="connsiteX50" fmla="*/ 571906 w 1530197"/>
                <a:gd name="connsiteY50" fmla="*/ 49954 h 1165522"/>
                <a:gd name="connsiteX51" fmla="*/ 582879 w 1530197"/>
                <a:gd name="connsiteY51" fmla="*/ 53612 h 1165522"/>
                <a:gd name="connsiteX52" fmla="*/ 593852 w 1530197"/>
                <a:gd name="connsiteY52" fmla="*/ 64585 h 1165522"/>
                <a:gd name="connsiteX53" fmla="*/ 608482 w 1530197"/>
                <a:gd name="connsiteY53" fmla="*/ 68242 h 1165522"/>
                <a:gd name="connsiteX54" fmla="*/ 630428 w 1530197"/>
                <a:gd name="connsiteY54" fmla="*/ 79215 h 1165522"/>
                <a:gd name="connsiteX55" fmla="*/ 641401 w 1530197"/>
                <a:gd name="connsiteY55" fmla="*/ 82873 h 1165522"/>
                <a:gd name="connsiteX56" fmla="*/ 652373 w 1530197"/>
                <a:gd name="connsiteY56" fmla="*/ 90188 h 1165522"/>
                <a:gd name="connsiteX57" fmla="*/ 659689 w 1530197"/>
                <a:gd name="connsiteY57" fmla="*/ 97503 h 1165522"/>
                <a:gd name="connsiteX58" fmla="*/ 670661 w 1530197"/>
                <a:gd name="connsiteY58" fmla="*/ 101161 h 1165522"/>
                <a:gd name="connsiteX59" fmla="*/ 674319 w 1530197"/>
                <a:gd name="connsiteY59" fmla="*/ 112133 h 1165522"/>
                <a:gd name="connsiteX60" fmla="*/ 692607 w 1530197"/>
                <a:gd name="connsiteY60" fmla="*/ 126764 h 1165522"/>
                <a:gd name="connsiteX61" fmla="*/ 714553 w 1530197"/>
                <a:gd name="connsiteY61" fmla="*/ 148709 h 1165522"/>
                <a:gd name="connsiteX62" fmla="*/ 732841 w 1530197"/>
                <a:gd name="connsiteY62" fmla="*/ 163340 h 1165522"/>
                <a:gd name="connsiteX63" fmla="*/ 743813 w 1530197"/>
                <a:gd name="connsiteY63" fmla="*/ 166997 h 1165522"/>
                <a:gd name="connsiteX64" fmla="*/ 765759 w 1530197"/>
                <a:gd name="connsiteY64" fmla="*/ 181628 h 1165522"/>
                <a:gd name="connsiteX65" fmla="*/ 776732 w 1530197"/>
                <a:gd name="connsiteY65" fmla="*/ 188943 h 1165522"/>
                <a:gd name="connsiteX66" fmla="*/ 795020 w 1530197"/>
                <a:gd name="connsiteY66" fmla="*/ 192601 h 1165522"/>
                <a:gd name="connsiteX67" fmla="*/ 816965 w 1530197"/>
                <a:gd name="connsiteY67" fmla="*/ 199916 h 1165522"/>
                <a:gd name="connsiteX68" fmla="*/ 860857 w 1530197"/>
                <a:gd name="connsiteY68" fmla="*/ 210889 h 1165522"/>
                <a:gd name="connsiteX69" fmla="*/ 882802 w 1530197"/>
                <a:gd name="connsiteY69" fmla="*/ 218204 h 1165522"/>
                <a:gd name="connsiteX70" fmla="*/ 908405 w 1530197"/>
                <a:gd name="connsiteY70" fmla="*/ 225519 h 1165522"/>
                <a:gd name="connsiteX71" fmla="*/ 930351 w 1530197"/>
                <a:gd name="connsiteY71" fmla="*/ 240149 h 1165522"/>
                <a:gd name="connsiteX72" fmla="*/ 941324 w 1530197"/>
                <a:gd name="connsiteY72" fmla="*/ 247465 h 1165522"/>
                <a:gd name="connsiteX73" fmla="*/ 955954 w 1530197"/>
                <a:gd name="connsiteY73" fmla="*/ 262095 h 1165522"/>
                <a:gd name="connsiteX74" fmla="*/ 966927 w 1530197"/>
                <a:gd name="connsiteY74" fmla="*/ 269410 h 1165522"/>
                <a:gd name="connsiteX75" fmla="*/ 981557 w 1530197"/>
                <a:gd name="connsiteY75" fmla="*/ 280383 h 1165522"/>
                <a:gd name="connsiteX76" fmla="*/ 985215 w 1530197"/>
                <a:gd name="connsiteY76" fmla="*/ 291356 h 1165522"/>
                <a:gd name="connsiteX77" fmla="*/ 1014476 w 1530197"/>
                <a:gd name="connsiteY77" fmla="*/ 309644 h 1165522"/>
                <a:gd name="connsiteX78" fmla="*/ 1029106 w 1530197"/>
                <a:gd name="connsiteY78" fmla="*/ 320617 h 1165522"/>
                <a:gd name="connsiteX79" fmla="*/ 1040079 w 1530197"/>
                <a:gd name="connsiteY79" fmla="*/ 331589 h 1165522"/>
                <a:gd name="connsiteX80" fmla="*/ 1047394 w 1530197"/>
                <a:gd name="connsiteY80" fmla="*/ 342562 h 1165522"/>
                <a:gd name="connsiteX81" fmla="*/ 1058367 w 1530197"/>
                <a:gd name="connsiteY81" fmla="*/ 357193 h 1165522"/>
                <a:gd name="connsiteX82" fmla="*/ 1069340 w 1530197"/>
                <a:gd name="connsiteY82" fmla="*/ 368165 h 1165522"/>
                <a:gd name="connsiteX83" fmla="*/ 1065682 w 1530197"/>
                <a:gd name="connsiteY83" fmla="*/ 415714 h 1165522"/>
                <a:gd name="connsiteX84" fmla="*/ 1054709 w 1530197"/>
                <a:gd name="connsiteY84" fmla="*/ 434002 h 1165522"/>
                <a:gd name="connsiteX85" fmla="*/ 1040079 w 1530197"/>
                <a:gd name="connsiteY85" fmla="*/ 459605 h 1165522"/>
                <a:gd name="connsiteX86" fmla="*/ 1032764 w 1530197"/>
                <a:gd name="connsiteY86" fmla="*/ 492524 h 1165522"/>
                <a:gd name="connsiteX87" fmla="*/ 1025449 w 1530197"/>
                <a:gd name="connsiteY87" fmla="*/ 507154 h 1165522"/>
                <a:gd name="connsiteX88" fmla="*/ 1021791 w 1530197"/>
                <a:gd name="connsiteY88" fmla="*/ 518127 h 1165522"/>
                <a:gd name="connsiteX89" fmla="*/ 1010818 w 1530197"/>
                <a:gd name="connsiteY89" fmla="*/ 529100 h 1165522"/>
                <a:gd name="connsiteX90" fmla="*/ 992530 w 1530197"/>
                <a:gd name="connsiteY90" fmla="*/ 565676 h 1165522"/>
                <a:gd name="connsiteX91" fmla="*/ 985215 w 1530197"/>
                <a:gd name="connsiteY91" fmla="*/ 576649 h 1165522"/>
                <a:gd name="connsiteX92" fmla="*/ 966927 w 1530197"/>
                <a:gd name="connsiteY92" fmla="*/ 594937 h 1165522"/>
                <a:gd name="connsiteX93" fmla="*/ 959612 w 1530197"/>
                <a:gd name="connsiteY93" fmla="*/ 638828 h 1165522"/>
                <a:gd name="connsiteX94" fmla="*/ 952297 w 1530197"/>
                <a:gd name="connsiteY94" fmla="*/ 660773 h 1165522"/>
                <a:gd name="connsiteX95" fmla="*/ 948639 w 1530197"/>
                <a:gd name="connsiteY95" fmla="*/ 675404 h 1165522"/>
                <a:gd name="connsiteX96" fmla="*/ 944981 w 1530197"/>
                <a:gd name="connsiteY96" fmla="*/ 697349 h 1165522"/>
                <a:gd name="connsiteX97" fmla="*/ 941324 w 1530197"/>
                <a:gd name="connsiteY97" fmla="*/ 708322 h 1165522"/>
                <a:gd name="connsiteX98" fmla="*/ 944981 w 1530197"/>
                <a:gd name="connsiteY98" fmla="*/ 755871 h 1165522"/>
                <a:gd name="connsiteX99" fmla="*/ 952297 w 1530197"/>
                <a:gd name="connsiteY99" fmla="*/ 763186 h 1165522"/>
                <a:gd name="connsiteX100" fmla="*/ 963269 w 1530197"/>
                <a:gd name="connsiteY100" fmla="*/ 770501 h 1165522"/>
                <a:gd name="connsiteX101" fmla="*/ 970585 w 1530197"/>
                <a:gd name="connsiteY101" fmla="*/ 777817 h 1165522"/>
                <a:gd name="connsiteX102" fmla="*/ 981557 w 1530197"/>
                <a:gd name="connsiteY102" fmla="*/ 781474 h 1165522"/>
                <a:gd name="connsiteX103" fmla="*/ 988873 w 1530197"/>
                <a:gd name="connsiteY103" fmla="*/ 792447 h 1165522"/>
                <a:gd name="connsiteX104" fmla="*/ 1010818 w 1530197"/>
                <a:gd name="connsiteY104" fmla="*/ 807077 h 1165522"/>
                <a:gd name="connsiteX105" fmla="*/ 1021791 w 1530197"/>
                <a:gd name="connsiteY105" fmla="*/ 814393 h 1165522"/>
                <a:gd name="connsiteX106" fmla="*/ 1043737 w 1530197"/>
                <a:gd name="connsiteY106" fmla="*/ 832681 h 1165522"/>
                <a:gd name="connsiteX107" fmla="*/ 1094943 w 1530197"/>
                <a:gd name="connsiteY107" fmla="*/ 847311 h 1165522"/>
                <a:gd name="connsiteX108" fmla="*/ 1252220 w 1530197"/>
                <a:gd name="connsiteY108" fmla="*/ 858284 h 1165522"/>
                <a:gd name="connsiteX109" fmla="*/ 1263193 w 1530197"/>
                <a:gd name="connsiteY109" fmla="*/ 865599 h 1165522"/>
                <a:gd name="connsiteX110" fmla="*/ 1277823 w 1530197"/>
                <a:gd name="connsiteY110" fmla="*/ 876572 h 1165522"/>
                <a:gd name="connsiteX111" fmla="*/ 1296111 w 1530197"/>
                <a:gd name="connsiteY111" fmla="*/ 880229 h 1165522"/>
                <a:gd name="connsiteX112" fmla="*/ 1310741 w 1530197"/>
                <a:gd name="connsiteY112" fmla="*/ 891202 h 1165522"/>
                <a:gd name="connsiteX113" fmla="*/ 1336345 w 1530197"/>
                <a:gd name="connsiteY113" fmla="*/ 913148 h 1165522"/>
                <a:gd name="connsiteX114" fmla="*/ 1350975 w 1530197"/>
                <a:gd name="connsiteY114" fmla="*/ 916805 h 1165522"/>
                <a:gd name="connsiteX115" fmla="*/ 1376578 w 1530197"/>
                <a:gd name="connsiteY115" fmla="*/ 949724 h 1165522"/>
                <a:gd name="connsiteX116" fmla="*/ 1391209 w 1530197"/>
                <a:gd name="connsiteY116" fmla="*/ 971669 h 1165522"/>
                <a:gd name="connsiteX117" fmla="*/ 1409497 w 1530197"/>
                <a:gd name="connsiteY117" fmla="*/ 989957 h 1165522"/>
                <a:gd name="connsiteX118" fmla="*/ 1413154 w 1530197"/>
                <a:gd name="connsiteY118" fmla="*/ 1000930 h 1165522"/>
                <a:gd name="connsiteX119" fmla="*/ 1435100 w 1530197"/>
                <a:gd name="connsiteY119" fmla="*/ 1019218 h 1165522"/>
                <a:gd name="connsiteX120" fmla="*/ 1457045 w 1530197"/>
                <a:gd name="connsiteY120" fmla="*/ 1026533 h 1165522"/>
                <a:gd name="connsiteX121" fmla="*/ 1468018 w 1530197"/>
                <a:gd name="connsiteY121" fmla="*/ 1030191 h 1165522"/>
                <a:gd name="connsiteX122" fmla="*/ 1489964 w 1530197"/>
                <a:gd name="connsiteY122" fmla="*/ 1041164 h 1165522"/>
                <a:gd name="connsiteX123" fmla="*/ 1500937 w 1530197"/>
                <a:gd name="connsiteY123" fmla="*/ 1052137 h 1165522"/>
                <a:gd name="connsiteX124" fmla="*/ 1515567 w 1530197"/>
                <a:gd name="connsiteY124" fmla="*/ 1070425 h 1165522"/>
                <a:gd name="connsiteX125" fmla="*/ 1519225 w 1530197"/>
                <a:gd name="connsiteY125" fmla="*/ 1085055 h 1165522"/>
                <a:gd name="connsiteX126" fmla="*/ 1522882 w 1530197"/>
                <a:gd name="connsiteY126" fmla="*/ 1096028 h 1165522"/>
                <a:gd name="connsiteX127" fmla="*/ 1530197 w 1530197"/>
                <a:gd name="connsiteY127" fmla="*/ 1139919 h 1165522"/>
                <a:gd name="connsiteX128" fmla="*/ 1526540 w 1530197"/>
                <a:gd name="connsiteY128" fmla="*/ 1161865 h 1165522"/>
                <a:gd name="connsiteX129" fmla="*/ 1515567 w 1530197"/>
                <a:gd name="connsiteY129" fmla="*/ 1165522 h 1165522"/>
                <a:gd name="connsiteX130" fmla="*/ 1489964 w 1530197"/>
                <a:gd name="connsiteY130" fmla="*/ 1161865 h 1165522"/>
                <a:gd name="connsiteX131" fmla="*/ 1478991 w 1530197"/>
                <a:gd name="connsiteY131" fmla="*/ 1158207 h 1165522"/>
                <a:gd name="connsiteX132" fmla="*/ 1457045 w 1530197"/>
                <a:gd name="connsiteY132" fmla="*/ 1136261 h 1165522"/>
                <a:gd name="connsiteX133" fmla="*/ 1442415 w 1530197"/>
                <a:gd name="connsiteY133" fmla="*/ 1121631 h 1165522"/>
                <a:gd name="connsiteX134" fmla="*/ 1431442 w 1530197"/>
                <a:gd name="connsiteY134" fmla="*/ 1117973 h 1165522"/>
                <a:gd name="connsiteX135" fmla="*/ 1420469 w 1530197"/>
                <a:gd name="connsiteY135" fmla="*/ 1107001 h 1165522"/>
                <a:gd name="connsiteX136" fmla="*/ 1372921 w 1530197"/>
                <a:gd name="connsiteY136" fmla="*/ 1110658 h 1165522"/>
                <a:gd name="connsiteX137" fmla="*/ 1347317 w 1530197"/>
                <a:gd name="connsiteY137" fmla="*/ 1121631 h 1165522"/>
                <a:gd name="connsiteX138" fmla="*/ 1318057 w 1530197"/>
                <a:gd name="connsiteY138" fmla="*/ 1114316 h 1165522"/>
                <a:gd name="connsiteX139" fmla="*/ 1288796 w 1530197"/>
                <a:gd name="connsiteY139" fmla="*/ 1077740 h 1165522"/>
                <a:gd name="connsiteX140" fmla="*/ 1281481 w 1530197"/>
                <a:gd name="connsiteY140" fmla="*/ 1055794 h 1165522"/>
                <a:gd name="connsiteX141" fmla="*/ 1274165 w 1530197"/>
                <a:gd name="connsiteY141" fmla="*/ 1048479 h 1165522"/>
                <a:gd name="connsiteX142" fmla="*/ 1263193 w 1530197"/>
                <a:gd name="connsiteY142" fmla="*/ 1044821 h 1165522"/>
                <a:gd name="connsiteX143" fmla="*/ 1252220 w 1530197"/>
                <a:gd name="connsiteY143" fmla="*/ 1037506 h 1165522"/>
                <a:gd name="connsiteX144" fmla="*/ 1215644 w 1530197"/>
                <a:gd name="connsiteY144" fmla="*/ 1041164 h 1165522"/>
                <a:gd name="connsiteX145" fmla="*/ 1204671 w 1530197"/>
                <a:gd name="connsiteY145" fmla="*/ 1048479 h 1165522"/>
                <a:gd name="connsiteX146" fmla="*/ 1186383 w 1530197"/>
                <a:gd name="connsiteY146" fmla="*/ 1055794 h 1165522"/>
                <a:gd name="connsiteX147" fmla="*/ 1072997 w 1530197"/>
                <a:gd name="connsiteY147" fmla="*/ 1052137 h 1165522"/>
                <a:gd name="connsiteX148" fmla="*/ 1029106 w 1530197"/>
                <a:gd name="connsiteY148" fmla="*/ 1048479 h 1165522"/>
                <a:gd name="connsiteX149" fmla="*/ 1007161 w 1530197"/>
                <a:gd name="connsiteY149" fmla="*/ 1041164 h 1165522"/>
                <a:gd name="connsiteX150" fmla="*/ 985215 w 1530197"/>
                <a:gd name="connsiteY150" fmla="*/ 1033849 h 1165522"/>
                <a:gd name="connsiteX151" fmla="*/ 974242 w 1530197"/>
                <a:gd name="connsiteY151" fmla="*/ 1030191 h 1165522"/>
                <a:gd name="connsiteX152" fmla="*/ 963269 w 1530197"/>
                <a:gd name="connsiteY152" fmla="*/ 1026533 h 1165522"/>
                <a:gd name="connsiteX153" fmla="*/ 842569 w 1530197"/>
                <a:gd name="connsiteY153" fmla="*/ 1030191 h 1165522"/>
                <a:gd name="connsiteX154" fmla="*/ 813308 w 1530197"/>
                <a:gd name="connsiteY154" fmla="*/ 1037506 h 1165522"/>
                <a:gd name="connsiteX155" fmla="*/ 762101 w 1530197"/>
                <a:gd name="connsiteY155" fmla="*/ 1044821 h 1165522"/>
                <a:gd name="connsiteX156" fmla="*/ 732841 w 1530197"/>
                <a:gd name="connsiteY156" fmla="*/ 1052137 h 1165522"/>
                <a:gd name="connsiteX157" fmla="*/ 656031 w 1530197"/>
                <a:gd name="connsiteY157" fmla="*/ 1055794 h 1165522"/>
                <a:gd name="connsiteX158" fmla="*/ 630428 w 1530197"/>
                <a:gd name="connsiteY158" fmla="*/ 1070425 h 1165522"/>
                <a:gd name="connsiteX159" fmla="*/ 619455 w 1530197"/>
                <a:gd name="connsiteY159" fmla="*/ 1077740 h 1165522"/>
                <a:gd name="connsiteX160" fmla="*/ 608482 w 1530197"/>
                <a:gd name="connsiteY160" fmla="*/ 1081397 h 1165522"/>
                <a:gd name="connsiteX161" fmla="*/ 484124 w 1530197"/>
                <a:gd name="connsiteY161" fmla="*/ 1085055 h 1165522"/>
                <a:gd name="connsiteX162" fmla="*/ 465836 w 1530197"/>
                <a:gd name="connsiteY162" fmla="*/ 1103343 h 1165522"/>
                <a:gd name="connsiteX163" fmla="*/ 462178 w 1530197"/>
                <a:gd name="connsiteY163" fmla="*/ 1114316 h 1165522"/>
                <a:gd name="connsiteX164" fmla="*/ 440233 w 1530197"/>
                <a:gd name="connsiteY164" fmla="*/ 1121631 h 1165522"/>
                <a:gd name="connsiteX165" fmla="*/ 429260 w 1530197"/>
                <a:gd name="connsiteY165" fmla="*/ 1125289 h 1165522"/>
                <a:gd name="connsiteX166" fmla="*/ 356108 w 1530197"/>
                <a:gd name="connsiteY166" fmla="*/ 1121631 h 1165522"/>
                <a:gd name="connsiteX167" fmla="*/ 334162 w 1530197"/>
                <a:gd name="connsiteY167" fmla="*/ 1117973 h 1165522"/>
                <a:gd name="connsiteX168" fmla="*/ 312217 w 1530197"/>
                <a:gd name="connsiteY168" fmla="*/ 1110658 h 1165522"/>
                <a:gd name="connsiteX169" fmla="*/ 290271 w 1530197"/>
                <a:gd name="connsiteY169" fmla="*/ 1099685 h 1165522"/>
                <a:gd name="connsiteX170" fmla="*/ 271983 w 1530197"/>
                <a:gd name="connsiteY170" fmla="*/ 1085055 h 1165522"/>
                <a:gd name="connsiteX171" fmla="*/ 250037 w 1530197"/>
                <a:gd name="connsiteY171" fmla="*/ 1070425 h 1165522"/>
                <a:gd name="connsiteX172" fmla="*/ 228092 w 1530197"/>
                <a:gd name="connsiteY172" fmla="*/ 1055794 h 1165522"/>
                <a:gd name="connsiteX173" fmla="*/ 217119 w 1530197"/>
                <a:gd name="connsiteY173" fmla="*/ 1052137 h 1165522"/>
                <a:gd name="connsiteX174" fmla="*/ 187858 w 1530197"/>
                <a:gd name="connsiteY174" fmla="*/ 1037506 h 1165522"/>
                <a:gd name="connsiteX175" fmla="*/ 158597 w 1530197"/>
                <a:gd name="connsiteY175" fmla="*/ 1030191 h 1165522"/>
                <a:gd name="connsiteX176" fmla="*/ 140309 w 1530197"/>
                <a:gd name="connsiteY176" fmla="*/ 1026533 h 1165522"/>
                <a:gd name="connsiteX177" fmla="*/ 129337 w 1530197"/>
                <a:gd name="connsiteY177" fmla="*/ 1022876 h 1165522"/>
                <a:gd name="connsiteX178" fmla="*/ 114706 w 1530197"/>
                <a:gd name="connsiteY178" fmla="*/ 1019218 h 1165522"/>
                <a:gd name="connsiteX179" fmla="*/ 100076 w 1530197"/>
                <a:gd name="connsiteY179" fmla="*/ 993615 h 1165522"/>
                <a:gd name="connsiteX180" fmla="*/ 122021 w 1530197"/>
                <a:gd name="connsiteY180" fmla="*/ 1000930 h 116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530197" h="1165522">
                  <a:moveTo>
                    <a:pt x="122021" y="1000930"/>
                  </a:moveTo>
                  <a:lnTo>
                    <a:pt x="122021" y="1000930"/>
                  </a:lnTo>
                  <a:cubicBezTo>
                    <a:pt x="118364" y="991176"/>
                    <a:pt x="114609" y="981459"/>
                    <a:pt x="111049" y="971669"/>
                  </a:cubicBezTo>
                  <a:cubicBezTo>
                    <a:pt x="109732" y="968046"/>
                    <a:pt x="109375" y="964003"/>
                    <a:pt x="107391" y="960697"/>
                  </a:cubicBezTo>
                  <a:cubicBezTo>
                    <a:pt x="105617" y="957740"/>
                    <a:pt x="102230" y="956074"/>
                    <a:pt x="100076" y="953381"/>
                  </a:cubicBezTo>
                  <a:cubicBezTo>
                    <a:pt x="97330" y="949949"/>
                    <a:pt x="94727" y="946341"/>
                    <a:pt x="92761" y="942409"/>
                  </a:cubicBezTo>
                  <a:cubicBezTo>
                    <a:pt x="91037" y="938961"/>
                    <a:pt x="90827" y="934885"/>
                    <a:pt x="89103" y="931436"/>
                  </a:cubicBezTo>
                  <a:cubicBezTo>
                    <a:pt x="87137" y="927504"/>
                    <a:pt x="83754" y="924395"/>
                    <a:pt x="81788" y="920463"/>
                  </a:cubicBezTo>
                  <a:cubicBezTo>
                    <a:pt x="80064" y="917014"/>
                    <a:pt x="80002" y="912860"/>
                    <a:pt x="78130" y="909490"/>
                  </a:cubicBezTo>
                  <a:cubicBezTo>
                    <a:pt x="70068" y="894979"/>
                    <a:pt x="60512" y="880563"/>
                    <a:pt x="45212" y="872914"/>
                  </a:cubicBezTo>
                  <a:cubicBezTo>
                    <a:pt x="41764" y="871190"/>
                    <a:pt x="37897" y="870476"/>
                    <a:pt x="34239" y="869257"/>
                  </a:cubicBezTo>
                  <a:cubicBezTo>
                    <a:pt x="12965" y="847981"/>
                    <a:pt x="43624" y="877687"/>
                    <a:pt x="15951" y="854626"/>
                  </a:cubicBezTo>
                  <a:cubicBezTo>
                    <a:pt x="11977" y="851315"/>
                    <a:pt x="8636" y="847311"/>
                    <a:pt x="4978" y="843653"/>
                  </a:cubicBezTo>
                  <a:cubicBezTo>
                    <a:pt x="-39" y="823581"/>
                    <a:pt x="-3106" y="818316"/>
                    <a:pt x="4978" y="792447"/>
                  </a:cubicBezTo>
                  <a:cubicBezTo>
                    <a:pt x="10524" y="774699"/>
                    <a:pt x="20424" y="771716"/>
                    <a:pt x="30581" y="759529"/>
                  </a:cubicBezTo>
                  <a:cubicBezTo>
                    <a:pt x="33395" y="756152"/>
                    <a:pt x="35083" y="751933"/>
                    <a:pt x="37897" y="748556"/>
                  </a:cubicBezTo>
                  <a:cubicBezTo>
                    <a:pt x="61366" y="720393"/>
                    <a:pt x="38020" y="753855"/>
                    <a:pt x="56185" y="726610"/>
                  </a:cubicBezTo>
                  <a:cubicBezTo>
                    <a:pt x="61038" y="712050"/>
                    <a:pt x="62718" y="709187"/>
                    <a:pt x="63500" y="690034"/>
                  </a:cubicBezTo>
                  <a:cubicBezTo>
                    <a:pt x="65589" y="638856"/>
                    <a:pt x="64932" y="587587"/>
                    <a:pt x="67157" y="536415"/>
                  </a:cubicBezTo>
                  <a:cubicBezTo>
                    <a:pt x="67770" y="522322"/>
                    <a:pt x="69924" y="522676"/>
                    <a:pt x="78130" y="514469"/>
                  </a:cubicBezTo>
                  <a:cubicBezTo>
                    <a:pt x="80568" y="502277"/>
                    <a:pt x="84791" y="490309"/>
                    <a:pt x="85445" y="477893"/>
                  </a:cubicBezTo>
                  <a:cubicBezTo>
                    <a:pt x="85657" y="473872"/>
                    <a:pt x="79585" y="426648"/>
                    <a:pt x="78130" y="419372"/>
                  </a:cubicBezTo>
                  <a:cubicBezTo>
                    <a:pt x="77374" y="415591"/>
                    <a:pt x="75309" y="412163"/>
                    <a:pt x="74473" y="408399"/>
                  </a:cubicBezTo>
                  <a:cubicBezTo>
                    <a:pt x="71459" y="394835"/>
                    <a:pt x="68740" y="369852"/>
                    <a:pt x="67157" y="357193"/>
                  </a:cubicBezTo>
                  <a:cubicBezTo>
                    <a:pt x="68376" y="334028"/>
                    <a:pt x="68051" y="310730"/>
                    <a:pt x="70815" y="287698"/>
                  </a:cubicBezTo>
                  <a:cubicBezTo>
                    <a:pt x="71734" y="280042"/>
                    <a:pt x="76260" y="273233"/>
                    <a:pt x="78130" y="265753"/>
                  </a:cubicBezTo>
                  <a:cubicBezTo>
                    <a:pt x="78812" y="263025"/>
                    <a:pt x="83198" y="243894"/>
                    <a:pt x="85445" y="240149"/>
                  </a:cubicBezTo>
                  <a:cubicBezTo>
                    <a:pt x="87219" y="237192"/>
                    <a:pt x="90322" y="235272"/>
                    <a:pt x="92761" y="232834"/>
                  </a:cubicBezTo>
                  <a:cubicBezTo>
                    <a:pt x="99465" y="212718"/>
                    <a:pt x="92390" y="230739"/>
                    <a:pt x="103733" y="210889"/>
                  </a:cubicBezTo>
                  <a:cubicBezTo>
                    <a:pt x="106438" y="206155"/>
                    <a:pt x="107880" y="200695"/>
                    <a:pt x="111049" y="196258"/>
                  </a:cubicBezTo>
                  <a:cubicBezTo>
                    <a:pt x="114055" y="192049"/>
                    <a:pt x="118710" y="189259"/>
                    <a:pt x="122021" y="185285"/>
                  </a:cubicBezTo>
                  <a:cubicBezTo>
                    <a:pt x="124835" y="181908"/>
                    <a:pt x="126591" y="177745"/>
                    <a:pt x="129337" y="174313"/>
                  </a:cubicBezTo>
                  <a:cubicBezTo>
                    <a:pt x="135296" y="166864"/>
                    <a:pt x="139473" y="165117"/>
                    <a:pt x="147625" y="159682"/>
                  </a:cubicBezTo>
                  <a:lnTo>
                    <a:pt x="169570" y="126764"/>
                  </a:lnTo>
                  <a:cubicBezTo>
                    <a:pt x="172008" y="123106"/>
                    <a:pt x="173777" y="118899"/>
                    <a:pt x="176885" y="115791"/>
                  </a:cubicBezTo>
                  <a:lnTo>
                    <a:pt x="195173" y="97503"/>
                  </a:lnTo>
                  <a:lnTo>
                    <a:pt x="202489" y="90188"/>
                  </a:lnTo>
                  <a:cubicBezTo>
                    <a:pt x="206147" y="86530"/>
                    <a:pt x="208554" y="80851"/>
                    <a:pt x="213461" y="79215"/>
                  </a:cubicBezTo>
                  <a:lnTo>
                    <a:pt x="224434" y="75557"/>
                  </a:lnTo>
                  <a:cubicBezTo>
                    <a:pt x="226872" y="71900"/>
                    <a:pt x="229003" y="68017"/>
                    <a:pt x="231749" y="64585"/>
                  </a:cubicBezTo>
                  <a:cubicBezTo>
                    <a:pt x="233903" y="61892"/>
                    <a:pt x="237152" y="60139"/>
                    <a:pt x="239065" y="57269"/>
                  </a:cubicBezTo>
                  <a:cubicBezTo>
                    <a:pt x="242089" y="52732"/>
                    <a:pt x="243211" y="47076"/>
                    <a:pt x="246380" y="42639"/>
                  </a:cubicBezTo>
                  <a:cubicBezTo>
                    <a:pt x="250257" y="37212"/>
                    <a:pt x="261721" y="27182"/>
                    <a:pt x="268325" y="24351"/>
                  </a:cubicBezTo>
                  <a:cubicBezTo>
                    <a:pt x="272946" y="22371"/>
                    <a:pt x="278079" y="21912"/>
                    <a:pt x="282956" y="20693"/>
                  </a:cubicBezTo>
                  <a:cubicBezTo>
                    <a:pt x="286614" y="18255"/>
                    <a:pt x="289997" y="15344"/>
                    <a:pt x="293929" y="13378"/>
                  </a:cubicBezTo>
                  <a:cubicBezTo>
                    <a:pt x="297377" y="11654"/>
                    <a:pt x="301050" y="9888"/>
                    <a:pt x="304901" y="9721"/>
                  </a:cubicBezTo>
                  <a:cubicBezTo>
                    <a:pt x="357291" y="7443"/>
                    <a:pt x="409752" y="7282"/>
                    <a:pt x="462178" y="6063"/>
                  </a:cubicBezTo>
                  <a:cubicBezTo>
                    <a:pt x="486621" y="-2085"/>
                    <a:pt x="481572" y="-1959"/>
                    <a:pt x="524357" y="6063"/>
                  </a:cubicBezTo>
                  <a:cubicBezTo>
                    <a:pt x="529045" y="6942"/>
                    <a:pt x="537072" y="22674"/>
                    <a:pt x="538988" y="24351"/>
                  </a:cubicBezTo>
                  <a:cubicBezTo>
                    <a:pt x="545604" y="30140"/>
                    <a:pt x="554716" y="32764"/>
                    <a:pt x="560933" y="38981"/>
                  </a:cubicBezTo>
                  <a:cubicBezTo>
                    <a:pt x="564591" y="42639"/>
                    <a:pt x="567602" y="47085"/>
                    <a:pt x="571906" y="49954"/>
                  </a:cubicBezTo>
                  <a:cubicBezTo>
                    <a:pt x="575114" y="52093"/>
                    <a:pt x="579221" y="52393"/>
                    <a:pt x="582879" y="53612"/>
                  </a:cubicBezTo>
                  <a:cubicBezTo>
                    <a:pt x="586537" y="57270"/>
                    <a:pt x="589361" y="62019"/>
                    <a:pt x="593852" y="64585"/>
                  </a:cubicBezTo>
                  <a:cubicBezTo>
                    <a:pt x="598216" y="67079"/>
                    <a:pt x="603649" y="66861"/>
                    <a:pt x="608482" y="68242"/>
                  </a:cubicBezTo>
                  <a:cubicBezTo>
                    <a:pt x="629930" y="74370"/>
                    <a:pt x="609059" y="68531"/>
                    <a:pt x="630428" y="79215"/>
                  </a:cubicBezTo>
                  <a:cubicBezTo>
                    <a:pt x="633877" y="80939"/>
                    <a:pt x="637953" y="81149"/>
                    <a:pt x="641401" y="82873"/>
                  </a:cubicBezTo>
                  <a:cubicBezTo>
                    <a:pt x="645333" y="84839"/>
                    <a:pt x="648941" y="87442"/>
                    <a:pt x="652373" y="90188"/>
                  </a:cubicBezTo>
                  <a:cubicBezTo>
                    <a:pt x="655066" y="92342"/>
                    <a:pt x="656732" y="95729"/>
                    <a:pt x="659689" y="97503"/>
                  </a:cubicBezTo>
                  <a:cubicBezTo>
                    <a:pt x="662995" y="99487"/>
                    <a:pt x="667004" y="99942"/>
                    <a:pt x="670661" y="101161"/>
                  </a:cubicBezTo>
                  <a:cubicBezTo>
                    <a:pt x="671880" y="104818"/>
                    <a:pt x="672335" y="108827"/>
                    <a:pt x="674319" y="112133"/>
                  </a:cubicBezTo>
                  <a:cubicBezTo>
                    <a:pt x="678913" y="119789"/>
                    <a:pt x="686195" y="121065"/>
                    <a:pt x="692607" y="126764"/>
                  </a:cubicBezTo>
                  <a:cubicBezTo>
                    <a:pt x="700339" y="133637"/>
                    <a:pt x="707238" y="141394"/>
                    <a:pt x="714553" y="148709"/>
                  </a:cubicBezTo>
                  <a:cubicBezTo>
                    <a:pt x="721360" y="155516"/>
                    <a:pt x="723609" y="158724"/>
                    <a:pt x="732841" y="163340"/>
                  </a:cubicBezTo>
                  <a:cubicBezTo>
                    <a:pt x="736289" y="165064"/>
                    <a:pt x="740156" y="165778"/>
                    <a:pt x="743813" y="166997"/>
                  </a:cubicBezTo>
                  <a:cubicBezTo>
                    <a:pt x="756672" y="186283"/>
                    <a:pt x="743715" y="172180"/>
                    <a:pt x="765759" y="181628"/>
                  </a:cubicBezTo>
                  <a:cubicBezTo>
                    <a:pt x="769799" y="183360"/>
                    <a:pt x="772616" y="187399"/>
                    <a:pt x="776732" y="188943"/>
                  </a:cubicBezTo>
                  <a:cubicBezTo>
                    <a:pt x="782553" y="191126"/>
                    <a:pt x="789022" y="190965"/>
                    <a:pt x="795020" y="192601"/>
                  </a:cubicBezTo>
                  <a:cubicBezTo>
                    <a:pt x="802459" y="194630"/>
                    <a:pt x="809485" y="198046"/>
                    <a:pt x="816965" y="199916"/>
                  </a:cubicBezTo>
                  <a:cubicBezTo>
                    <a:pt x="831596" y="203574"/>
                    <a:pt x="846550" y="206120"/>
                    <a:pt x="860857" y="210889"/>
                  </a:cubicBezTo>
                  <a:cubicBezTo>
                    <a:pt x="868172" y="213327"/>
                    <a:pt x="875321" y="216334"/>
                    <a:pt x="882802" y="218204"/>
                  </a:cubicBezTo>
                  <a:cubicBezTo>
                    <a:pt x="886252" y="219066"/>
                    <a:pt x="904107" y="223131"/>
                    <a:pt x="908405" y="225519"/>
                  </a:cubicBezTo>
                  <a:cubicBezTo>
                    <a:pt x="916090" y="229789"/>
                    <a:pt x="923036" y="235272"/>
                    <a:pt x="930351" y="240149"/>
                  </a:cubicBezTo>
                  <a:cubicBezTo>
                    <a:pt x="934009" y="242588"/>
                    <a:pt x="938215" y="244356"/>
                    <a:pt x="941324" y="247465"/>
                  </a:cubicBezTo>
                  <a:cubicBezTo>
                    <a:pt x="946201" y="252342"/>
                    <a:pt x="950718" y="257607"/>
                    <a:pt x="955954" y="262095"/>
                  </a:cubicBezTo>
                  <a:cubicBezTo>
                    <a:pt x="959292" y="264956"/>
                    <a:pt x="963350" y="266855"/>
                    <a:pt x="966927" y="269410"/>
                  </a:cubicBezTo>
                  <a:cubicBezTo>
                    <a:pt x="971887" y="272953"/>
                    <a:pt x="976680" y="276725"/>
                    <a:pt x="981557" y="280383"/>
                  </a:cubicBezTo>
                  <a:cubicBezTo>
                    <a:pt x="982776" y="284041"/>
                    <a:pt x="982747" y="288394"/>
                    <a:pt x="985215" y="291356"/>
                  </a:cubicBezTo>
                  <a:cubicBezTo>
                    <a:pt x="994227" y="302170"/>
                    <a:pt x="1003319" y="302671"/>
                    <a:pt x="1014476" y="309644"/>
                  </a:cubicBezTo>
                  <a:cubicBezTo>
                    <a:pt x="1019645" y="312875"/>
                    <a:pt x="1024478" y="316650"/>
                    <a:pt x="1029106" y="320617"/>
                  </a:cubicBezTo>
                  <a:cubicBezTo>
                    <a:pt x="1033033" y="323983"/>
                    <a:pt x="1036768" y="327615"/>
                    <a:pt x="1040079" y="331589"/>
                  </a:cubicBezTo>
                  <a:cubicBezTo>
                    <a:pt x="1042893" y="334966"/>
                    <a:pt x="1044839" y="338985"/>
                    <a:pt x="1047394" y="342562"/>
                  </a:cubicBezTo>
                  <a:cubicBezTo>
                    <a:pt x="1050937" y="347523"/>
                    <a:pt x="1054400" y="352564"/>
                    <a:pt x="1058367" y="357193"/>
                  </a:cubicBezTo>
                  <a:cubicBezTo>
                    <a:pt x="1061733" y="361120"/>
                    <a:pt x="1065682" y="364508"/>
                    <a:pt x="1069340" y="368165"/>
                  </a:cubicBezTo>
                  <a:cubicBezTo>
                    <a:pt x="1068121" y="384015"/>
                    <a:pt x="1067654" y="399940"/>
                    <a:pt x="1065682" y="415714"/>
                  </a:cubicBezTo>
                  <a:cubicBezTo>
                    <a:pt x="1064035" y="428891"/>
                    <a:pt x="1061978" y="424916"/>
                    <a:pt x="1054709" y="434002"/>
                  </a:cubicBezTo>
                  <a:cubicBezTo>
                    <a:pt x="1047818" y="442616"/>
                    <a:pt x="1045084" y="449596"/>
                    <a:pt x="1040079" y="459605"/>
                  </a:cubicBezTo>
                  <a:cubicBezTo>
                    <a:pt x="1037888" y="472751"/>
                    <a:pt x="1037674" y="481067"/>
                    <a:pt x="1032764" y="492524"/>
                  </a:cubicBezTo>
                  <a:cubicBezTo>
                    <a:pt x="1030616" y="497535"/>
                    <a:pt x="1027597" y="502143"/>
                    <a:pt x="1025449" y="507154"/>
                  </a:cubicBezTo>
                  <a:cubicBezTo>
                    <a:pt x="1023930" y="510698"/>
                    <a:pt x="1023930" y="514919"/>
                    <a:pt x="1021791" y="518127"/>
                  </a:cubicBezTo>
                  <a:cubicBezTo>
                    <a:pt x="1018922" y="522431"/>
                    <a:pt x="1014476" y="525442"/>
                    <a:pt x="1010818" y="529100"/>
                  </a:cubicBezTo>
                  <a:cubicBezTo>
                    <a:pt x="1005029" y="552260"/>
                    <a:pt x="1009950" y="539547"/>
                    <a:pt x="992530" y="565676"/>
                  </a:cubicBezTo>
                  <a:cubicBezTo>
                    <a:pt x="990092" y="569334"/>
                    <a:pt x="988323" y="573541"/>
                    <a:pt x="985215" y="576649"/>
                  </a:cubicBezTo>
                  <a:lnTo>
                    <a:pt x="966927" y="594937"/>
                  </a:lnTo>
                  <a:cubicBezTo>
                    <a:pt x="956926" y="624934"/>
                    <a:pt x="971859" y="577589"/>
                    <a:pt x="959612" y="638828"/>
                  </a:cubicBezTo>
                  <a:cubicBezTo>
                    <a:pt x="958100" y="646389"/>
                    <a:pt x="954167" y="653293"/>
                    <a:pt x="952297" y="660773"/>
                  </a:cubicBezTo>
                  <a:cubicBezTo>
                    <a:pt x="951078" y="665650"/>
                    <a:pt x="949625" y="670475"/>
                    <a:pt x="948639" y="675404"/>
                  </a:cubicBezTo>
                  <a:cubicBezTo>
                    <a:pt x="947184" y="682676"/>
                    <a:pt x="946590" y="690110"/>
                    <a:pt x="944981" y="697349"/>
                  </a:cubicBezTo>
                  <a:cubicBezTo>
                    <a:pt x="944145" y="701113"/>
                    <a:pt x="942543" y="704664"/>
                    <a:pt x="941324" y="708322"/>
                  </a:cubicBezTo>
                  <a:cubicBezTo>
                    <a:pt x="942543" y="724172"/>
                    <a:pt x="941863" y="740283"/>
                    <a:pt x="944981" y="755871"/>
                  </a:cubicBezTo>
                  <a:cubicBezTo>
                    <a:pt x="945657" y="759253"/>
                    <a:pt x="949604" y="761032"/>
                    <a:pt x="952297" y="763186"/>
                  </a:cubicBezTo>
                  <a:cubicBezTo>
                    <a:pt x="955729" y="765932"/>
                    <a:pt x="959837" y="767755"/>
                    <a:pt x="963269" y="770501"/>
                  </a:cubicBezTo>
                  <a:cubicBezTo>
                    <a:pt x="965962" y="772655"/>
                    <a:pt x="967628" y="776043"/>
                    <a:pt x="970585" y="777817"/>
                  </a:cubicBezTo>
                  <a:cubicBezTo>
                    <a:pt x="973891" y="779800"/>
                    <a:pt x="977900" y="780255"/>
                    <a:pt x="981557" y="781474"/>
                  </a:cubicBezTo>
                  <a:cubicBezTo>
                    <a:pt x="983996" y="785132"/>
                    <a:pt x="985565" y="789552"/>
                    <a:pt x="988873" y="792447"/>
                  </a:cubicBezTo>
                  <a:cubicBezTo>
                    <a:pt x="995489" y="798236"/>
                    <a:pt x="1003503" y="802200"/>
                    <a:pt x="1010818" y="807077"/>
                  </a:cubicBezTo>
                  <a:cubicBezTo>
                    <a:pt x="1014476" y="809516"/>
                    <a:pt x="1018682" y="811285"/>
                    <a:pt x="1021791" y="814393"/>
                  </a:cubicBezTo>
                  <a:cubicBezTo>
                    <a:pt x="1028680" y="821281"/>
                    <a:pt x="1034573" y="828608"/>
                    <a:pt x="1043737" y="832681"/>
                  </a:cubicBezTo>
                  <a:cubicBezTo>
                    <a:pt x="1064866" y="842072"/>
                    <a:pt x="1071702" y="839564"/>
                    <a:pt x="1094943" y="847311"/>
                  </a:cubicBezTo>
                  <a:cubicBezTo>
                    <a:pt x="1159700" y="868896"/>
                    <a:pt x="1109181" y="854418"/>
                    <a:pt x="1252220" y="858284"/>
                  </a:cubicBezTo>
                  <a:cubicBezTo>
                    <a:pt x="1255878" y="860722"/>
                    <a:pt x="1259616" y="863044"/>
                    <a:pt x="1263193" y="865599"/>
                  </a:cubicBezTo>
                  <a:cubicBezTo>
                    <a:pt x="1268153" y="869142"/>
                    <a:pt x="1272252" y="874096"/>
                    <a:pt x="1277823" y="876572"/>
                  </a:cubicBezTo>
                  <a:cubicBezTo>
                    <a:pt x="1283504" y="879097"/>
                    <a:pt x="1290015" y="879010"/>
                    <a:pt x="1296111" y="880229"/>
                  </a:cubicBezTo>
                  <a:cubicBezTo>
                    <a:pt x="1300988" y="883887"/>
                    <a:pt x="1306153" y="887188"/>
                    <a:pt x="1310741" y="891202"/>
                  </a:cubicBezTo>
                  <a:cubicBezTo>
                    <a:pt x="1319463" y="898834"/>
                    <a:pt x="1325380" y="908449"/>
                    <a:pt x="1336345" y="913148"/>
                  </a:cubicBezTo>
                  <a:cubicBezTo>
                    <a:pt x="1340965" y="915128"/>
                    <a:pt x="1346098" y="915586"/>
                    <a:pt x="1350975" y="916805"/>
                  </a:cubicBezTo>
                  <a:cubicBezTo>
                    <a:pt x="1368165" y="933995"/>
                    <a:pt x="1359079" y="923474"/>
                    <a:pt x="1376578" y="949724"/>
                  </a:cubicBezTo>
                  <a:cubicBezTo>
                    <a:pt x="1376583" y="949732"/>
                    <a:pt x="1391202" y="971662"/>
                    <a:pt x="1391209" y="971669"/>
                  </a:cubicBezTo>
                  <a:lnTo>
                    <a:pt x="1409497" y="989957"/>
                  </a:lnTo>
                  <a:cubicBezTo>
                    <a:pt x="1410716" y="993615"/>
                    <a:pt x="1411015" y="997722"/>
                    <a:pt x="1413154" y="1000930"/>
                  </a:cubicBezTo>
                  <a:cubicBezTo>
                    <a:pt x="1416781" y="1006371"/>
                    <a:pt x="1428707" y="1016377"/>
                    <a:pt x="1435100" y="1019218"/>
                  </a:cubicBezTo>
                  <a:cubicBezTo>
                    <a:pt x="1442146" y="1022350"/>
                    <a:pt x="1449730" y="1024095"/>
                    <a:pt x="1457045" y="1026533"/>
                  </a:cubicBezTo>
                  <a:cubicBezTo>
                    <a:pt x="1460703" y="1027752"/>
                    <a:pt x="1464810" y="1028052"/>
                    <a:pt x="1468018" y="1030191"/>
                  </a:cubicBezTo>
                  <a:cubicBezTo>
                    <a:pt x="1482199" y="1039645"/>
                    <a:pt x="1474821" y="1036116"/>
                    <a:pt x="1489964" y="1041164"/>
                  </a:cubicBezTo>
                  <a:cubicBezTo>
                    <a:pt x="1493622" y="1044822"/>
                    <a:pt x="1497625" y="1048163"/>
                    <a:pt x="1500937" y="1052137"/>
                  </a:cubicBezTo>
                  <a:cubicBezTo>
                    <a:pt x="1524017" y="1079832"/>
                    <a:pt x="1494276" y="1049132"/>
                    <a:pt x="1515567" y="1070425"/>
                  </a:cubicBezTo>
                  <a:cubicBezTo>
                    <a:pt x="1516786" y="1075302"/>
                    <a:pt x="1517844" y="1080222"/>
                    <a:pt x="1519225" y="1085055"/>
                  </a:cubicBezTo>
                  <a:cubicBezTo>
                    <a:pt x="1520284" y="1088762"/>
                    <a:pt x="1522248" y="1092225"/>
                    <a:pt x="1522882" y="1096028"/>
                  </a:cubicBezTo>
                  <a:cubicBezTo>
                    <a:pt x="1531049" y="1145028"/>
                    <a:pt x="1521624" y="1114194"/>
                    <a:pt x="1530197" y="1139919"/>
                  </a:cubicBezTo>
                  <a:cubicBezTo>
                    <a:pt x="1528978" y="1147234"/>
                    <a:pt x="1530219" y="1155426"/>
                    <a:pt x="1526540" y="1161865"/>
                  </a:cubicBezTo>
                  <a:cubicBezTo>
                    <a:pt x="1524627" y="1165212"/>
                    <a:pt x="1519422" y="1165522"/>
                    <a:pt x="1515567" y="1165522"/>
                  </a:cubicBezTo>
                  <a:cubicBezTo>
                    <a:pt x="1506946" y="1165522"/>
                    <a:pt x="1498498" y="1163084"/>
                    <a:pt x="1489964" y="1161865"/>
                  </a:cubicBezTo>
                  <a:cubicBezTo>
                    <a:pt x="1486306" y="1160646"/>
                    <a:pt x="1482034" y="1160574"/>
                    <a:pt x="1478991" y="1158207"/>
                  </a:cubicBezTo>
                  <a:cubicBezTo>
                    <a:pt x="1470825" y="1151855"/>
                    <a:pt x="1464360" y="1143576"/>
                    <a:pt x="1457045" y="1136261"/>
                  </a:cubicBezTo>
                  <a:cubicBezTo>
                    <a:pt x="1452168" y="1131384"/>
                    <a:pt x="1448958" y="1123812"/>
                    <a:pt x="1442415" y="1121631"/>
                  </a:cubicBezTo>
                  <a:lnTo>
                    <a:pt x="1431442" y="1117973"/>
                  </a:lnTo>
                  <a:cubicBezTo>
                    <a:pt x="1427784" y="1114316"/>
                    <a:pt x="1424773" y="1109870"/>
                    <a:pt x="1420469" y="1107001"/>
                  </a:cubicBezTo>
                  <a:cubicBezTo>
                    <a:pt x="1406457" y="1097660"/>
                    <a:pt x="1385042" y="1108234"/>
                    <a:pt x="1372921" y="1110658"/>
                  </a:cubicBezTo>
                  <a:cubicBezTo>
                    <a:pt x="1370066" y="1112085"/>
                    <a:pt x="1352697" y="1121631"/>
                    <a:pt x="1347317" y="1121631"/>
                  </a:cubicBezTo>
                  <a:cubicBezTo>
                    <a:pt x="1338492" y="1121631"/>
                    <a:pt x="1326714" y="1117201"/>
                    <a:pt x="1318057" y="1114316"/>
                  </a:cubicBezTo>
                  <a:cubicBezTo>
                    <a:pt x="1308069" y="1104328"/>
                    <a:pt x="1293410" y="1091582"/>
                    <a:pt x="1288796" y="1077740"/>
                  </a:cubicBezTo>
                  <a:cubicBezTo>
                    <a:pt x="1286358" y="1070425"/>
                    <a:pt x="1286934" y="1061246"/>
                    <a:pt x="1281481" y="1055794"/>
                  </a:cubicBezTo>
                  <a:cubicBezTo>
                    <a:pt x="1279042" y="1053356"/>
                    <a:pt x="1277122" y="1050253"/>
                    <a:pt x="1274165" y="1048479"/>
                  </a:cubicBezTo>
                  <a:cubicBezTo>
                    <a:pt x="1270859" y="1046495"/>
                    <a:pt x="1266641" y="1046545"/>
                    <a:pt x="1263193" y="1044821"/>
                  </a:cubicBezTo>
                  <a:cubicBezTo>
                    <a:pt x="1259261" y="1042855"/>
                    <a:pt x="1255878" y="1039944"/>
                    <a:pt x="1252220" y="1037506"/>
                  </a:cubicBezTo>
                  <a:cubicBezTo>
                    <a:pt x="1240028" y="1038725"/>
                    <a:pt x="1227583" y="1038409"/>
                    <a:pt x="1215644" y="1041164"/>
                  </a:cubicBezTo>
                  <a:cubicBezTo>
                    <a:pt x="1211361" y="1042152"/>
                    <a:pt x="1208603" y="1046513"/>
                    <a:pt x="1204671" y="1048479"/>
                  </a:cubicBezTo>
                  <a:cubicBezTo>
                    <a:pt x="1198799" y="1051415"/>
                    <a:pt x="1192479" y="1053356"/>
                    <a:pt x="1186383" y="1055794"/>
                  </a:cubicBezTo>
                  <a:lnTo>
                    <a:pt x="1072997" y="1052137"/>
                  </a:lnTo>
                  <a:cubicBezTo>
                    <a:pt x="1058332" y="1051455"/>
                    <a:pt x="1043587" y="1050893"/>
                    <a:pt x="1029106" y="1048479"/>
                  </a:cubicBezTo>
                  <a:cubicBezTo>
                    <a:pt x="1021500" y="1047211"/>
                    <a:pt x="1014476" y="1043602"/>
                    <a:pt x="1007161" y="1041164"/>
                  </a:cubicBezTo>
                  <a:lnTo>
                    <a:pt x="985215" y="1033849"/>
                  </a:lnTo>
                  <a:lnTo>
                    <a:pt x="974242" y="1030191"/>
                  </a:lnTo>
                  <a:lnTo>
                    <a:pt x="963269" y="1026533"/>
                  </a:lnTo>
                  <a:cubicBezTo>
                    <a:pt x="923036" y="1027752"/>
                    <a:pt x="882713" y="1027254"/>
                    <a:pt x="842569" y="1030191"/>
                  </a:cubicBezTo>
                  <a:cubicBezTo>
                    <a:pt x="832542" y="1030925"/>
                    <a:pt x="823209" y="1035759"/>
                    <a:pt x="813308" y="1037506"/>
                  </a:cubicBezTo>
                  <a:cubicBezTo>
                    <a:pt x="756496" y="1047532"/>
                    <a:pt x="801190" y="1035800"/>
                    <a:pt x="762101" y="1044821"/>
                  </a:cubicBezTo>
                  <a:cubicBezTo>
                    <a:pt x="752305" y="1047082"/>
                    <a:pt x="742883" y="1051659"/>
                    <a:pt x="732841" y="1052137"/>
                  </a:cubicBezTo>
                  <a:lnTo>
                    <a:pt x="656031" y="1055794"/>
                  </a:lnTo>
                  <a:cubicBezTo>
                    <a:pt x="635186" y="1076639"/>
                    <a:pt x="656216" y="1059373"/>
                    <a:pt x="630428" y="1070425"/>
                  </a:cubicBezTo>
                  <a:cubicBezTo>
                    <a:pt x="626388" y="1072157"/>
                    <a:pt x="623387" y="1075774"/>
                    <a:pt x="619455" y="1077740"/>
                  </a:cubicBezTo>
                  <a:cubicBezTo>
                    <a:pt x="616007" y="1079464"/>
                    <a:pt x="612332" y="1081189"/>
                    <a:pt x="608482" y="1081397"/>
                  </a:cubicBezTo>
                  <a:cubicBezTo>
                    <a:pt x="567072" y="1083635"/>
                    <a:pt x="525577" y="1083836"/>
                    <a:pt x="484124" y="1085055"/>
                  </a:cubicBezTo>
                  <a:cubicBezTo>
                    <a:pt x="473150" y="1092370"/>
                    <a:pt x="471932" y="1091150"/>
                    <a:pt x="465836" y="1103343"/>
                  </a:cubicBezTo>
                  <a:cubicBezTo>
                    <a:pt x="464112" y="1106792"/>
                    <a:pt x="465315" y="1112075"/>
                    <a:pt x="462178" y="1114316"/>
                  </a:cubicBezTo>
                  <a:cubicBezTo>
                    <a:pt x="455904" y="1118798"/>
                    <a:pt x="447548" y="1119193"/>
                    <a:pt x="440233" y="1121631"/>
                  </a:cubicBezTo>
                  <a:lnTo>
                    <a:pt x="429260" y="1125289"/>
                  </a:lnTo>
                  <a:cubicBezTo>
                    <a:pt x="404876" y="1124070"/>
                    <a:pt x="380451" y="1123504"/>
                    <a:pt x="356108" y="1121631"/>
                  </a:cubicBezTo>
                  <a:cubicBezTo>
                    <a:pt x="348714" y="1121062"/>
                    <a:pt x="341357" y="1119772"/>
                    <a:pt x="334162" y="1117973"/>
                  </a:cubicBezTo>
                  <a:cubicBezTo>
                    <a:pt x="326682" y="1116103"/>
                    <a:pt x="312217" y="1110658"/>
                    <a:pt x="312217" y="1110658"/>
                  </a:cubicBezTo>
                  <a:cubicBezTo>
                    <a:pt x="292866" y="1091310"/>
                    <a:pt x="320608" y="1116539"/>
                    <a:pt x="290271" y="1099685"/>
                  </a:cubicBezTo>
                  <a:cubicBezTo>
                    <a:pt x="283447" y="1095894"/>
                    <a:pt x="278297" y="1089647"/>
                    <a:pt x="271983" y="1085055"/>
                  </a:cubicBezTo>
                  <a:cubicBezTo>
                    <a:pt x="264873" y="1079884"/>
                    <a:pt x="257352" y="1075302"/>
                    <a:pt x="250037" y="1070425"/>
                  </a:cubicBezTo>
                  <a:lnTo>
                    <a:pt x="228092" y="1055794"/>
                  </a:lnTo>
                  <a:lnTo>
                    <a:pt x="217119" y="1052137"/>
                  </a:lnTo>
                  <a:cubicBezTo>
                    <a:pt x="205605" y="1040621"/>
                    <a:pt x="210274" y="1043110"/>
                    <a:pt x="187858" y="1037506"/>
                  </a:cubicBezTo>
                  <a:cubicBezTo>
                    <a:pt x="178104" y="1035068"/>
                    <a:pt x="168456" y="1032163"/>
                    <a:pt x="158597" y="1030191"/>
                  </a:cubicBezTo>
                  <a:cubicBezTo>
                    <a:pt x="152501" y="1028972"/>
                    <a:pt x="146340" y="1028041"/>
                    <a:pt x="140309" y="1026533"/>
                  </a:cubicBezTo>
                  <a:cubicBezTo>
                    <a:pt x="136569" y="1025598"/>
                    <a:pt x="133044" y="1023935"/>
                    <a:pt x="129337" y="1022876"/>
                  </a:cubicBezTo>
                  <a:cubicBezTo>
                    <a:pt x="124503" y="1021495"/>
                    <a:pt x="119583" y="1020437"/>
                    <a:pt x="114706" y="1019218"/>
                  </a:cubicBezTo>
                  <a:cubicBezTo>
                    <a:pt x="110603" y="1013062"/>
                    <a:pt x="101623" y="1000575"/>
                    <a:pt x="100076" y="993615"/>
                  </a:cubicBezTo>
                  <a:cubicBezTo>
                    <a:pt x="98754" y="987664"/>
                    <a:pt x="118364" y="999711"/>
                    <a:pt x="122021" y="1000930"/>
                  </a:cubicBezTo>
                  <a:close/>
                </a:path>
              </a:pathLst>
            </a:custGeom>
            <a:solidFill>
              <a:srgbClr val="FFC000">
                <a:alpha val="76000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ru-RU" sz="14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    </a:t>
              </a:r>
              <a:endPara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2" name="Полилиния 31"/>
            <p:cNvSpPr/>
            <p:nvPr/>
          </p:nvSpPr>
          <p:spPr>
            <a:xfrm rot="21264797">
              <a:off x="2929607" y="4216046"/>
              <a:ext cx="489957" cy="1007370"/>
            </a:xfrm>
            <a:custGeom>
              <a:avLst/>
              <a:gdLst>
                <a:gd name="connsiteX0" fmla="*/ 114448 w 1123945"/>
                <a:gd name="connsiteY0" fmla="*/ 409652 h 899770"/>
                <a:gd name="connsiteX1" fmla="*/ 114448 w 1123945"/>
                <a:gd name="connsiteY1" fmla="*/ 409652 h 899770"/>
                <a:gd name="connsiteX2" fmla="*/ 151024 w 1123945"/>
                <a:gd name="connsiteY2" fmla="*/ 435255 h 899770"/>
                <a:gd name="connsiteX3" fmla="*/ 172969 w 1123945"/>
                <a:gd name="connsiteY3" fmla="*/ 442570 h 899770"/>
                <a:gd name="connsiteX4" fmla="*/ 183942 w 1123945"/>
                <a:gd name="connsiteY4" fmla="*/ 453543 h 899770"/>
                <a:gd name="connsiteX5" fmla="*/ 216860 w 1123945"/>
                <a:gd name="connsiteY5" fmla="*/ 464516 h 899770"/>
                <a:gd name="connsiteX6" fmla="*/ 227833 w 1123945"/>
                <a:gd name="connsiteY6" fmla="*/ 468173 h 899770"/>
                <a:gd name="connsiteX7" fmla="*/ 238806 w 1123945"/>
                <a:gd name="connsiteY7" fmla="*/ 475488 h 899770"/>
                <a:gd name="connsiteX8" fmla="*/ 271724 w 1123945"/>
                <a:gd name="connsiteY8" fmla="*/ 486461 h 899770"/>
                <a:gd name="connsiteX9" fmla="*/ 297328 w 1123945"/>
                <a:gd name="connsiteY9" fmla="*/ 515722 h 899770"/>
                <a:gd name="connsiteX10" fmla="*/ 319273 w 1123945"/>
                <a:gd name="connsiteY10" fmla="*/ 530352 h 899770"/>
                <a:gd name="connsiteX11" fmla="*/ 326588 w 1123945"/>
                <a:gd name="connsiteY11" fmla="*/ 537668 h 899770"/>
                <a:gd name="connsiteX12" fmla="*/ 348534 w 1123945"/>
                <a:gd name="connsiteY12" fmla="*/ 544983 h 899770"/>
                <a:gd name="connsiteX13" fmla="*/ 392425 w 1123945"/>
                <a:gd name="connsiteY13" fmla="*/ 552298 h 899770"/>
                <a:gd name="connsiteX14" fmla="*/ 407056 w 1123945"/>
                <a:gd name="connsiteY14" fmla="*/ 559613 h 899770"/>
                <a:gd name="connsiteX15" fmla="*/ 432659 w 1123945"/>
                <a:gd name="connsiteY15" fmla="*/ 574244 h 899770"/>
                <a:gd name="connsiteX16" fmla="*/ 447289 w 1123945"/>
                <a:gd name="connsiteY16" fmla="*/ 585216 h 899770"/>
                <a:gd name="connsiteX17" fmla="*/ 458262 w 1123945"/>
                <a:gd name="connsiteY17" fmla="*/ 588874 h 899770"/>
                <a:gd name="connsiteX18" fmla="*/ 472892 w 1123945"/>
                <a:gd name="connsiteY18" fmla="*/ 599847 h 899770"/>
                <a:gd name="connsiteX19" fmla="*/ 480208 w 1123945"/>
                <a:gd name="connsiteY19" fmla="*/ 607162 h 899770"/>
                <a:gd name="connsiteX20" fmla="*/ 491180 w 1123945"/>
                <a:gd name="connsiteY20" fmla="*/ 610820 h 899770"/>
                <a:gd name="connsiteX21" fmla="*/ 513126 w 1123945"/>
                <a:gd name="connsiteY21" fmla="*/ 621792 h 899770"/>
                <a:gd name="connsiteX22" fmla="*/ 546044 w 1123945"/>
                <a:gd name="connsiteY22" fmla="*/ 640080 h 899770"/>
                <a:gd name="connsiteX23" fmla="*/ 564332 w 1123945"/>
                <a:gd name="connsiteY23" fmla="*/ 643738 h 899770"/>
                <a:gd name="connsiteX24" fmla="*/ 586278 w 1123945"/>
                <a:gd name="connsiteY24" fmla="*/ 651053 h 899770"/>
                <a:gd name="connsiteX25" fmla="*/ 597251 w 1123945"/>
                <a:gd name="connsiteY25" fmla="*/ 654711 h 899770"/>
                <a:gd name="connsiteX26" fmla="*/ 619196 w 1123945"/>
                <a:gd name="connsiteY26" fmla="*/ 676656 h 899770"/>
                <a:gd name="connsiteX27" fmla="*/ 637484 w 1123945"/>
                <a:gd name="connsiteY27" fmla="*/ 694944 h 899770"/>
                <a:gd name="connsiteX28" fmla="*/ 644800 w 1123945"/>
                <a:gd name="connsiteY28" fmla="*/ 702260 h 899770"/>
                <a:gd name="connsiteX29" fmla="*/ 670403 w 1123945"/>
                <a:gd name="connsiteY29" fmla="*/ 720548 h 899770"/>
                <a:gd name="connsiteX30" fmla="*/ 685033 w 1123945"/>
                <a:gd name="connsiteY30" fmla="*/ 727863 h 899770"/>
                <a:gd name="connsiteX31" fmla="*/ 696006 w 1123945"/>
                <a:gd name="connsiteY31" fmla="*/ 735178 h 899770"/>
                <a:gd name="connsiteX32" fmla="*/ 706979 w 1123945"/>
                <a:gd name="connsiteY32" fmla="*/ 738836 h 899770"/>
                <a:gd name="connsiteX33" fmla="*/ 728924 w 1123945"/>
                <a:gd name="connsiteY33" fmla="*/ 749808 h 899770"/>
                <a:gd name="connsiteX34" fmla="*/ 736240 w 1123945"/>
                <a:gd name="connsiteY34" fmla="*/ 760781 h 899770"/>
                <a:gd name="connsiteX35" fmla="*/ 761843 w 1123945"/>
                <a:gd name="connsiteY35" fmla="*/ 768096 h 899770"/>
                <a:gd name="connsiteX36" fmla="*/ 783788 w 1123945"/>
                <a:gd name="connsiteY36" fmla="*/ 782727 h 899770"/>
                <a:gd name="connsiteX37" fmla="*/ 794761 w 1123945"/>
                <a:gd name="connsiteY37" fmla="*/ 786384 h 899770"/>
                <a:gd name="connsiteX38" fmla="*/ 834995 w 1123945"/>
                <a:gd name="connsiteY38" fmla="*/ 797357 h 899770"/>
                <a:gd name="connsiteX39" fmla="*/ 845968 w 1123945"/>
                <a:gd name="connsiteY39" fmla="*/ 804672 h 899770"/>
                <a:gd name="connsiteX40" fmla="*/ 860598 w 1123945"/>
                <a:gd name="connsiteY40" fmla="*/ 808330 h 899770"/>
                <a:gd name="connsiteX41" fmla="*/ 897174 w 1123945"/>
                <a:gd name="connsiteY41" fmla="*/ 822960 h 899770"/>
                <a:gd name="connsiteX42" fmla="*/ 919120 w 1123945"/>
                <a:gd name="connsiteY42" fmla="*/ 837591 h 899770"/>
                <a:gd name="connsiteX43" fmla="*/ 944723 w 1123945"/>
                <a:gd name="connsiteY43" fmla="*/ 859536 h 899770"/>
                <a:gd name="connsiteX44" fmla="*/ 977641 w 1123945"/>
                <a:gd name="connsiteY44" fmla="*/ 888797 h 899770"/>
                <a:gd name="connsiteX45" fmla="*/ 992272 w 1123945"/>
                <a:gd name="connsiteY45" fmla="*/ 896112 h 899770"/>
                <a:gd name="connsiteX46" fmla="*/ 1010560 w 1123945"/>
                <a:gd name="connsiteY46" fmla="*/ 899770 h 899770"/>
                <a:gd name="connsiteX47" fmla="*/ 1080054 w 1123945"/>
                <a:gd name="connsiteY47" fmla="*/ 896112 h 899770"/>
                <a:gd name="connsiteX48" fmla="*/ 1102000 w 1123945"/>
                <a:gd name="connsiteY48" fmla="*/ 888797 h 899770"/>
                <a:gd name="connsiteX49" fmla="*/ 1112972 w 1123945"/>
                <a:gd name="connsiteY49" fmla="*/ 877824 h 899770"/>
                <a:gd name="connsiteX50" fmla="*/ 1120288 w 1123945"/>
                <a:gd name="connsiteY50" fmla="*/ 837591 h 899770"/>
                <a:gd name="connsiteX51" fmla="*/ 1123945 w 1123945"/>
                <a:gd name="connsiteY51" fmla="*/ 826618 h 899770"/>
                <a:gd name="connsiteX52" fmla="*/ 1120288 w 1123945"/>
                <a:gd name="connsiteY52" fmla="*/ 764439 h 899770"/>
                <a:gd name="connsiteX53" fmla="*/ 1102000 w 1123945"/>
                <a:gd name="connsiteY53" fmla="*/ 731520 h 899770"/>
                <a:gd name="connsiteX54" fmla="*/ 1087369 w 1123945"/>
                <a:gd name="connsiteY54" fmla="*/ 705917 h 899770"/>
                <a:gd name="connsiteX55" fmla="*/ 1076396 w 1123945"/>
                <a:gd name="connsiteY55" fmla="*/ 680314 h 899770"/>
                <a:gd name="connsiteX56" fmla="*/ 1065424 w 1123945"/>
                <a:gd name="connsiteY56" fmla="*/ 654711 h 899770"/>
                <a:gd name="connsiteX57" fmla="*/ 1061766 w 1123945"/>
                <a:gd name="connsiteY57" fmla="*/ 640080 h 899770"/>
                <a:gd name="connsiteX58" fmla="*/ 1054451 w 1123945"/>
                <a:gd name="connsiteY58" fmla="*/ 625450 h 899770"/>
                <a:gd name="connsiteX59" fmla="*/ 1050793 w 1123945"/>
                <a:gd name="connsiteY59" fmla="*/ 614477 h 899770"/>
                <a:gd name="connsiteX60" fmla="*/ 1054451 w 1123945"/>
                <a:gd name="connsiteY60" fmla="*/ 566928 h 899770"/>
                <a:gd name="connsiteX61" fmla="*/ 1058108 w 1123945"/>
                <a:gd name="connsiteY61" fmla="*/ 552298 h 899770"/>
                <a:gd name="connsiteX62" fmla="*/ 1069081 w 1123945"/>
                <a:gd name="connsiteY62" fmla="*/ 526695 h 899770"/>
                <a:gd name="connsiteX63" fmla="*/ 1076396 w 1123945"/>
                <a:gd name="connsiteY63" fmla="*/ 515722 h 899770"/>
                <a:gd name="connsiteX64" fmla="*/ 1065424 w 1123945"/>
                <a:gd name="connsiteY64" fmla="*/ 391364 h 899770"/>
                <a:gd name="connsiteX65" fmla="*/ 1061766 w 1123945"/>
                <a:gd name="connsiteY65" fmla="*/ 373076 h 899770"/>
                <a:gd name="connsiteX66" fmla="*/ 1054451 w 1123945"/>
                <a:gd name="connsiteY66" fmla="*/ 365760 h 899770"/>
                <a:gd name="connsiteX67" fmla="*/ 1039820 w 1123945"/>
                <a:gd name="connsiteY67" fmla="*/ 343815 h 899770"/>
                <a:gd name="connsiteX68" fmla="*/ 1028848 w 1123945"/>
                <a:gd name="connsiteY68" fmla="*/ 340157 h 899770"/>
                <a:gd name="connsiteX69" fmla="*/ 1010560 w 1123945"/>
                <a:gd name="connsiteY69" fmla="*/ 321869 h 899770"/>
                <a:gd name="connsiteX70" fmla="*/ 1003244 w 1123945"/>
                <a:gd name="connsiteY70" fmla="*/ 314554 h 899770"/>
                <a:gd name="connsiteX71" fmla="*/ 992272 w 1123945"/>
                <a:gd name="connsiteY71" fmla="*/ 307239 h 899770"/>
                <a:gd name="connsiteX72" fmla="*/ 984956 w 1123945"/>
                <a:gd name="connsiteY72" fmla="*/ 299924 h 899770"/>
                <a:gd name="connsiteX73" fmla="*/ 963011 w 1123945"/>
                <a:gd name="connsiteY73" fmla="*/ 292608 h 899770"/>
                <a:gd name="connsiteX74" fmla="*/ 952038 w 1123945"/>
                <a:gd name="connsiteY74" fmla="*/ 285293 h 899770"/>
                <a:gd name="connsiteX75" fmla="*/ 824022 w 1123945"/>
                <a:gd name="connsiteY75" fmla="*/ 270663 h 899770"/>
                <a:gd name="connsiteX76" fmla="*/ 747212 w 1123945"/>
                <a:gd name="connsiteY76" fmla="*/ 270663 h 899770"/>
                <a:gd name="connsiteX77" fmla="*/ 728924 w 1123945"/>
                <a:gd name="connsiteY77" fmla="*/ 267005 h 899770"/>
                <a:gd name="connsiteX78" fmla="*/ 725267 w 1123945"/>
                <a:gd name="connsiteY78" fmla="*/ 256032 h 899770"/>
                <a:gd name="connsiteX79" fmla="*/ 717952 w 1123945"/>
                <a:gd name="connsiteY79" fmla="*/ 245060 h 899770"/>
                <a:gd name="connsiteX80" fmla="*/ 710636 w 1123945"/>
                <a:gd name="connsiteY80" fmla="*/ 208484 h 899770"/>
                <a:gd name="connsiteX81" fmla="*/ 703321 w 1123945"/>
                <a:gd name="connsiteY81" fmla="*/ 201168 h 899770"/>
                <a:gd name="connsiteX82" fmla="*/ 688691 w 1123945"/>
                <a:gd name="connsiteY82" fmla="*/ 182880 h 899770"/>
                <a:gd name="connsiteX83" fmla="*/ 670403 w 1123945"/>
                <a:gd name="connsiteY83" fmla="*/ 164592 h 899770"/>
                <a:gd name="connsiteX84" fmla="*/ 659430 w 1123945"/>
                <a:gd name="connsiteY84" fmla="*/ 153620 h 899770"/>
                <a:gd name="connsiteX85" fmla="*/ 633827 w 1123945"/>
                <a:gd name="connsiteY85" fmla="*/ 146304 h 899770"/>
                <a:gd name="connsiteX86" fmla="*/ 600908 w 1123945"/>
                <a:gd name="connsiteY86" fmla="*/ 131674 h 899770"/>
                <a:gd name="connsiteX87" fmla="*/ 557017 w 1123945"/>
                <a:gd name="connsiteY87" fmla="*/ 128016 h 899770"/>
                <a:gd name="connsiteX88" fmla="*/ 531414 w 1123945"/>
                <a:gd name="connsiteY88" fmla="*/ 120701 h 899770"/>
                <a:gd name="connsiteX89" fmla="*/ 520441 w 1123945"/>
                <a:gd name="connsiteY89" fmla="*/ 117044 h 899770"/>
                <a:gd name="connsiteX90" fmla="*/ 505811 w 1123945"/>
                <a:gd name="connsiteY90" fmla="*/ 113386 h 899770"/>
                <a:gd name="connsiteX91" fmla="*/ 494838 w 1123945"/>
                <a:gd name="connsiteY91" fmla="*/ 109728 h 899770"/>
                <a:gd name="connsiteX92" fmla="*/ 370480 w 1123945"/>
                <a:gd name="connsiteY92" fmla="*/ 106071 h 899770"/>
                <a:gd name="connsiteX93" fmla="*/ 348534 w 1123945"/>
                <a:gd name="connsiteY93" fmla="*/ 95098 h 899770"/>
                <a:gd name="connsiteX94" fmla="*/ 322931 w 1123945"/>
                <a:gd name="connsiteY94" fmla="*/ 87783 h 899770"/>
                <a:gd name="connsiteX95" fmla="*/ 311958 w 1123945"/>
                <a:gd name="connsiteY95" fmla="*/ 76810 h 899770"/>
                <a:gd name="connsiteX96" fmla="*/ 297328 w 1123945"/>
                <a:gd name="connsiteY96" fmla="*/ 73152 h 899770"/>
                <a:gd name="connsiteX97" fmla="*/ 286355 w 1123945"/>
                <a:gd name="connsiteY97" fmla="*/ 69495 h 899770"/>
                <a:gd name="connsiteX98" fmla="*/ 275382 w 1123945"/>
                <a:gd name="connsiteY98" fmla="*/ 62180 h 899770"/>
                <a:gd name="connsiteX99" fmla="*/ 253436 w 1123945"/>
                <a:gd name="connsiteY99" fmla="*/ 54864 h 899770"/>
                <a:gd name="connsiteX100" fmla="*/ 242464 w 1123945"/>
                <a:gd name="connsiteY100" fmla="*/ 51207 h 899770"/>
                <a:gd name="connsiteX101" fmla="*/ 231491 w 1123945"/>
                <a:gd name="connsiteY101" fmla="*/ 47549 h 899770"/>
                <a:gd name="connsiteX102" fmla="*/ 216860 w 1123945"/>
                <a:gd name="connsiteY102" fmla="*/ 43892 h 899770"/>
                <a:gd name="connsiteX103" fmla="*/ 205888 w 1123945"/>
                <a:gd name="connsiteY103" fmla="*/ 36576 h 899770"/>
                <a:gd name="connsiteX104" fmla="*/ 183942 w 1123945"/>
                <a:gd name="connsiteY104" fmla="*/ 29261 h 899770"/>
                <a:gd name="connsiteX105" fmla="*/ 158339 w 1123945"/>
                <a:gd name="connsiteY105" fmla="*/ 14631 h 899770"/>
                <a:gd name="connsiteX106" fmla="*/ 147366 w 1123945"/>
                <a:gd name="connsiteY106" fmla="*/ 7316 h 899770"/>
                <a:gd name="connsiteX107" fmla="*/ 125420 w 1123945"/>
                <a:gd name="connsiteY107" fmla="*/ 0 h 899770"/>
                <a:gd name="connsiteX108" fmla="*/ 88844 w 1123945"/>
                <a:gd name="connsiteY108" fmla="*/ 3658 h 899770"/>
                <a:gd name="connsiteX109" fmla="*/ 77872 w 1123945"/>
                <a:gd name="connsiteY109" fmla="*/ 10973 h 899770"/>
                <a:gd name="connsiteX110" fmla="*/ 63241 w 1123945"/>
                <a:gd name="connsiteY110" fmla="*/ 14631 h 899770"/>
                <a:gd name="connsiteX111" fmla="*/ 52268 w 1123945"/>
                <a:gd name="connsiteY111" fmla="*/ 21946 h 899770"/>
                <a:gd name="connsiteX112" fmla="*/ 33980 w 1123945"/>
                <a:gd name="connsiteY112" fmla="*/ 25604 h 899770"/>
                <a:gd name="connsiteX113" fmla="*/ 23008 w 1123945"/>
                <a:gd name="connsiteY113" fmla="*/ 36576 h 899770"/>
                <a:gd name="connsiteX114" fmla="*/ 19350 w 1123945"/>
                <a:gd name="connsiteY114" fmla="*/ 51207 h 899770"/>
                <a:gd name="connsiteX115" fmla="*/ 15692 w 1123945"/>
                <a:gd name="connsiteY115" fmla="*/ 62180 h 899770"/>
                <a:gd name="connsiteX116" fmla="*/ 33980 w 1123945"/>
                <a:gd name="connsiteY116" fmla="*/ 102413 h 899770"/>
                <a:gd name="connsiteX117" fmla="*/ 37638 w 1123945"/>
                <a:gd name="connsiteY117" fmla="*/ 113386 h 899770"/>
                <a:gd name="connsiteX118" fmla="*/ 30323 w 1123945"/>
                <a:gd name="connsiteY118" fmla="*/ 157277 h 899770"/>
                <a:gd name="connsiteX119" fmla="*/ 15692 w 1123945"/>
                <a:gd name="connsiteY119" fmla="*/ 179223 h 899770"/>
                <a:gd name="connsiteX120" fmla="*/ 8377 w 1123945"/>
                <a:gd name="connsiteY120" fmla="*/ 190196 h 899770"/>
                <a:gd name="connsiteX121" fmla="*/ 4720 w 1123945"/>
                <a:gd name="connsiteY121" fmla="*/ 201168 h 899770"/>
                <a:gd name="connsiteX122" fmla="*/ 4720 w 1123945"/>
                <a:gd name="connsiteY122" fmla="*/ 270663 h 899770"/>
                <a:gd name="connsiteX123" fmla="*/ 15692 w 1123945"/>
                <a:gd name="connsiteY123" fmla="*/ 285293 h 899770"/>
                <a:gd name="connsiteX124" fmla="*/ 23008 w 1123945"/>
                <a:gd name="connsiteY124" fmla="*/ 296266 h 899770"/>
                <a:gd name="connsiteX125" fmla="*/ 37638 w 1123945"/>
                <a:gd name="connsiteY125" fmla="*/ 321869 h 899770"/>
                <a:gd name="connsiteX126" fmla="*/ 48611 w 1123945"/>
                <a:gd name="connsiteY126" fmla="*/ 347472 h 899770"/>
                <a:gd name="connsiteX127" fmla="*/ 59584 w 1123945"/>
                <a:gd name="connsiteY127" fmla="*/ 354788 h 899770"/>
                <a:gd name="connsiteX128" fmla="*/ 77872 w 1123945"/>
                <a:gd name="connsiteY128" fmla="*/ 373076 h 899770"/>
                <a:gd name="connsiteX129" fmla="*/ 92502 w 1123945"/>
                <a:gd name="connsiteY129" fmla="*/ 391364 h 899770"/>
                <a:gd name="connsiteX130" fmla="*/ 114448 w 1123945"/>
                <a:gd name="connsiteY130" fmla="*/ 398679 h 899770"/>
                <a:gd name="connsiteX131" fmla="*/ 114448 w 1123945"/>
                <a:gd name="connsiteY131" fmla="*/ 409652 h 899770"/>
                <a:gd name="connsiteX0" fmla="*/ 114448 w 1123945"/>
                <a:gd name="connsiteY0" fmla="*/ 409652 h 899770"/>
                <a:gd name="connsiteX1" fmla="*/ 114448 w 1123945"/>
                <a:gd name="connsiteY1" fmla="*/ 409652 h 899770"/>
                <a:gd name="connsiteX2" fmla="*/ 151024 w 1123945"/>
                <a:gd name="connsiteY2" fmla="*/ 435255 h 899770"/>
                <a:gd name="connsiteX3" fmla="*/ 172969 w 1123945"/>
                <a:gd name="connsiteY3" fmla="*/ 442570 h 899770"/>
                <a:gd name="connsiteX4" fmla="*/ 183942 w 1123945"/>
                <a:gd name="connsiteY4" fmla="*/ 453543 h 899770"/>
                <a:gd name="connsiteX5" fmla="*/ 216860 w 1123945"/>
                <a:gd name="connsiteY5" fmla="*/ 464516 h 899770"/>
                <a:gd name="connsiteX6" fmla="*/ 227833 w 1123945"/>
                <a:gd name="connsiteY6" fmla="*/ 468173 h 899770"/>
                <a:gd name="connsiteX7" fmla="*/ 238806 w 1123945"/>
                <a:gd name="connsiteY7" fmla="*/ 475488 h 899770"/>
                <a:gd name="connsiteX8" fmla="*/ 249778 w 1123945"/>
                <a:gd name="connsiteY8" fmla="*/ 548640 h 899770"/>
                <a:gd name="connsiteX9" fmla="*/ 297328 w 1123945"/>
                <a:gd name="connsiteY9" fmla="*/ 515722 h 899770"/>
                <a:gd name="connsiteX10" fmla="*/ 319273 w 1123945"/>
                <a:gd name="connsiteY10" fmla="*/ 530352 h 899770"/>
                <a:gd name="connsiteX11" fmla="*/ 326588 w 1123945"/>
                <a:gd name="connsiteY11" fmla="*/ 537668 h 899770"/>
                <a:gd name="connsiteX12" fmla="*/ 348534 w 1123945"/>
                <a:gd name="connsiteY12" fmla="*/ 544983 h 899770"/>
                <a:gd name="connsiteX13" fmla="*/ 392425 w 1123945"/>
                <a:gd name="connsiteY13" fmla="*/ 552298 h 899770"/>
                <a:gd name="connsiteX14" fmla="*/ 407056 w 1123945"/>
                <a:gd name="connsiteY14" fmla="*/ 559613 h 899770"/>
                <a:gd name="connsiteX15" fmla="*/ 432659 w 1123945"/>
                <a:gd name="connsiteY15" fmla="*/ 574244 h 899770"/>
                <a:gd name="connsiteX16" fmla="*/ 447289 w 1123945"/>
                <a:gd name="connsiteY16" fmla="*/ 585216 h 899770"/>
                <a:gd name="connsiteX17" fmla="*/ 458262 w 1123945"/>
                <a:gd name="connsiteY17" fmla="*/ 588874 h 899770"/>
                <a:gd name="connsiteX18" fmla="*/ 472892 w 1123945"/>
                <a:gd name="connsiteY18" fmla="*/ 599847 h 899770"/>
                <a:gd name="connsiteX19" fmla="*/ 480208 w 1123945"/>
                <a:gd name="connsiteY19" fmla="*/ 607162 h 899770"/>
                <a:gd name="connsiteX20" fmla="*/ 491180 w 1123945"/>
                <a:gd name="connsiteY20" fmla="*/ 610820 h 899770"/>
                <a:gd name="connsiteX21" fmla="*/ 513126 w 1123945"/>
                <a:gd name="connsiteY21" fmla="*/ 621792 h 899770"/>
                <a:gd name="connsiteX22" fmla="*/ 546044 w 1123945"/>
                <a:gd name="connsiteY22" fmla="*/ 640080 h 899770"/>
                <a:gd name="connsiteX23" fmla="*/ 564332 w 1123945"/>
                <a:gd name="connsiteY23" fmla="*/ 643738 h 899770"/>
                <a:gd name="connsiteX24" fmla="*/ 586278 w 1123945"/>
                <a:gd name="connsiteY24" fmla="*/ 651053 h 899770"/>
                <a:gd name="connsiteX25" fmla="*/ 597251 w 1123945"/>
                <a:gd name="connsiteY25" fmla="*/ 654711 h 899770"/>
                <a:gd name="connsiteX26" fmla="*/ 619196 w 1123945"/>
                <a:gd name="connsiteY26" fmla="*/ 676656 h 899770"/>
                <a:gd name="connsiteX27" fmla="*/ 637484 w 1123945"/>
                <a:gd name="connsiteY27" fmla="*/ 694944 h 899770"/>
                <a:gd name="connsiteX28" fmla="*/ 644800 w 1123945"/>
                <a:gd name="connsiteY28" fmla="*/ 702260 h 899770"/>
                <a:gd name="connsiteX29" fmla="*/ 670403 w 1123945"/>
                <a:gd name="connsiteY29" fmla="*/ 720548 h 899770"/>
                <a:gd name="connsiteX30" fmla="*/ 685033 w 1123945"/>
                <a:gd name="connsiteY30" fmla="*/ 727863 h 899770"/>
                <a:gd name="connsiteX31" fmla="*/ 696006 w 1123945"/>
                <a:gd name="connsiteY31" fmla="*/ 735178 h 899770"/>
                <a:gd name="connsiteX32" fmla="*/ 706979 w 1123945"/>
                <a:gd name="connsiteY32" fmla="*/ 738836 h 899770"/>
                <a:gd name="connsiteX33" fmla="*/ 728924 w 1123945"/>
                <a:gd name="connsiteY33" fmla="*/ 749808 h 899770"/>
                <a:gd name="connsiteX34" fmla="*/ 736240 w 1123945"/>
                <a:gd name="connsiteY34" fmla="*/ 760781 h 899770"/>
                <a:gd name="connsiteX35" fmla="*/ 761843 w 1123945"/>
                <a:gd name="connsiteY35" fmla="*/ 768096 h 899770"/>
                <a:gd name="connsiteX36" fmla="*/ 783788 w 1123945"/>
                <a:gd name="connsiteY36" fmla="*/ 782727 h 899770"/>
                <a:gd name="connsiteX37" fmla="*/ 794761 w 1123945"/>
                <a:gd name="connsiteY37" fmla="*/ 786384 h 899770"/>
                <a:gd name="connsiteX38" fmla="*/ 834995 w 1123945"/>
                <a:gd name="connsiteY38" fmla="*/ 797357 h 899770"/>
                <a:gd name="connsiteX39" fmla="*/ 845968 w 1123945"/>
                <a:gd name="connsiteY39" fmla="*/ 804672 h 899770"/>
                <a:gd name="connsiteX40" fmla="*/ 860598 w 1123945"/>
                <a:gd name="connsiteY40" fmla="*/ 808330 h 899770"/>
                <a:gd name="connsiteX41" fmla="*/ 897174 w 1123945"/>
                <a:gd name="connsiteY41" fmla="*/ 822960 h 899770"/>
                <a:gd name="connsiteX42" fmla="*/ 919120 w 1123945"/>
                <a:gd name="connsiteY42" fmla="*/ 837591 h 899770"/>
                <a:gd name="connsiteX43" fmla="*/ 944723 w 1123945"/>
                <a:gd name="connsiteY43" fmla="*/ 859536 h 899770"/>
                <a:gd name="connsiteX44" fmla="*/ 977641 w 1123945"/>
                <a:gd name="connsiteY44" fmla="*/ 888797 h 899770"/>
                <a:gd name="connsiteX45" fmla="*/ 992272 w 1123945"/>
                <a:gd name="connsiteY45" fmla="*/ 896112 h 899770"/>
                <a:gd name="connsiteX46" fmla="*/ 1010560 w 1123945"/>
                <a:gd name="connsiteY46" fmla="*/ 899770 h 899770"/>
                <a:gd name="connsiteX47" fmla="*/ 1080054 w 1123945"/>
                <a:gd name="connsiteY47" fmla="*/ 896112 h 899770"/>
                <a:gd name="connsiteX48" fmla="*/ 1102000 w 1123945"/>
                <a:gd name="connsiteY48" fmla="*/ 888797 h 899770"/>
                <a:gd name="connsiteX49" fmla="*/ 1112972 w 1123945"/>
                <a:gd name="connsiteY49" fmla="*/ 877824 h 899770"/>
                <a:gd name="connsiteX50" fmla="*/ 1120288 w 1123945"/>
                <a:gd name="connsiteY50" fmla="*/ 837591 h 899770"/>
                <a:gd name="connsiteX51" fmla="*/ 1123945 w 1123945"/>
                <a:gd name="connsiteY51" fmla="*/ 826618 h 899770"/>
                <a:gd name="connsiteX52" fmla="*/ 1120288 w 1123945"/>
                <a:gd name="connsiteY52" fmla="*/ 764439 h 899770"/>
                <a:gd name="connsiteX53" fmla="*/ 1102000 w 1123945"/>
                <a:gd name="connsiteY53" fmla="*/ 731520 h 899770"/>
                <a:gd name="connsiteX54" fmla="*/ 1087369 w 1123945"/>
                <a:gd name="connsiteY54" fmla="*/ 705917 h 899770"/>
                <a:gd name="connsiteX55" fmla="*/ 1076396 w 1123945"/>
                <a:gd name="connsiteY55" fmla="*/ 680314 h 899770"/>
                <a:gd name="connsiteX56" fmla="*/ 1065424 w 1123945"/>
                <a:gd name="connsiteY56" fmla="*/ 654711 h 899770"/>
                <a:gd name="connsiteX57" fmla="*/ 1061766 w 1123945"/>
                <a:gd name="connsiteY57" fmla="*/ 640080 h 899770"/>
                <a:gd name="connsiteX58" fmla="*/ 1054451 w 1123945"/>
                <a:gd name="connsiteY58" fmla="*/ 625450 h 899770"/>
                <a:gd name="connsiteX59" fmla="*/ 1050793 w 1123945"/>
                <a:gd name="connsiteY59" fmla="*/ 614477 h 899770"/>
                <a:gd name="connsiteX60" fmla="*/ 1054451 w 1123945"/>
                <a:gd name="connsiteY60" fmla="*/ 566928 h 899770"/>
                <a:gd name="connsiteX61" fmla="*/ 1058108 w 1123945"/>
                <a:gd name="connsiteY61" fmla="*/ 552298 h 899770"/>
                <a:gd name="connsiteX62" fmla="*/ 1069081 w 1123945"/>
                <a:gd name="connsiteY62" fmla="*/ 526695 h 899770"/>
                <a:gd name="connsiteX63" fmla="*/ 1076396 w 1123945"/>
                <a:gd name="connsiteY63" fmla="*/ 515722 h 899770"/>
                <a:gd name="connsiteX64" fmla="*/ 1065424 w 1123945"/>
                <a:gd name="connsiteY64" fmla="*/ 391364 h 899770"/>
                <a:gd name="connsiteX65" fmla="*/ 1061766 w 1123945"/>
                <a:gd name="connsiteY65" fmla="*/ 373076 h 899770"/>
                <a:gd name="connsiteX66" fmla="*/ 1054451 w 1123945"/>
                <a:gd name="connsiteY66" fmla="*/ 365760 h 899770"/>
                <a:gd name="connsiteX67" fmla="*/ 1039820 w 1123945"/>
                <a:gd name="connsiteY67" fmla="*/ 343815 h 899770"/>
                <a:gd name="connsiteX68" fmla="*/ 1028848 w 1123945"/>
                <a:gd name="connsiteY68" fmla="*/ 340157 h 899770"/>
                <a:gd name="connsiteX69" fmla="*/ 1010560 w 1123945"/>
                <a:gd name="connsiteY69" fmla="*/ 321869 h 899770"/>
                <a:gd name="connsiteX70" fmla="*/ 1003244 w 1123945"/>
                <a:gd name="connsiteY70" fmla="*/ 314554 h 899770"/>
                <a:gd name="connsiteX71" fmla="*/ 992272 w 1123945"/>
                <a:gd name="connsiteY71" fmla="*/ 307239 h 899770"/>
                <a:gd name="connsiteX72" fmla="*/ 984956 w 1123945"/>
                <a:gd name="connsiteY72" fmla="*/ 299924 h 899770"/>
                <a:gd name="connsiteX73" fmla="*/ 963011 w 1123945"/>
                <a:gd name="connsiteY73" fmla="*/ 292608 h 899770"/>
                <a:gd name="connsiteX74" fmla="*/ 952038 w 1123945"/>
                <a:gd name="connsiteY74" fmla="*/ 285293 h 899770"/>
                <a:gd name="connsiteX75" fmla="*/ 824022 w 1123945"/>
                <a:gd name="connsiteY75" fmla="*/ 270663 h 899770"/>
                <a:gd name="connsiteX76" fmla="*/ 747212 w 1123945"/>
                <a:gd name="connsiteY76" fmla="*/ 270663 h 899770"/>
                <a:gd name="connsiteX77" fmla="*/ 728924 w 1123945"/>
                <a:gd name="connsiteY77" fmla="*/ 267005 h 899770"/>
                <a:gd name="connsiteX78" fmla="*/ 725267 w 1123945"/>
                <a:gd name="connsiteY78" fmla="*/ 256032 h 899770"/>
                <a:gd name="connsiteX79" fmla="*/ 717952 w 1123945"/>
                <a:gd name="connsiteY79" fmla="*/ 245060 h 899770"/>
                <a:gd name="connsiteX80" fmla="*/ 710636 w 1123945"/>
                <a:gd name="connsiteY80" fmla="*/ 208484 h 899770"/>
                <a:gd name="connsiteX81" fmla="*/ 703321 w 1123945"/>
                <a:gd name="connsiteY81" fmla="*/ 201168 h 899770"/>
                <a:gd name="connsiteX82" fmla="*/ 688691 w 1123945"/>
                <a:gd name="connsiteY82" fmla="*/ 182880 h 899770"/>
                <a:gd name="connsiteX83" fmla="*/ 670403 w 1123945"/>
                <a:gd name="connsiteY83" fmla="*/ 164592 h 899770"/>
                <a:gd name="connsiteX84" fmla="*/ 659430 w 1123945"/>
                <a:gd name="connsiteY84" fmla="*/ 153620 h 899770"/>
                <a:gd name="connsiteX85" fmla="*/ 633827 w 1123945"/>
                <a:gd name="connsiteY85" fmla="*/ 146304 h 899770"/>
                <a:gd name="connsiteX86" fmla="*/ 600908 w 1123945"/>
                <a:gd name="connsiteY86" fmla="*/ 131674 h 899770"/>
                <a:gd name="connsiteX87" fmla="*/ 557017 w 1123945"/>
                <a:gd name="connsiteY87" fmla="*/ 128016 h 899770"/>
                <a:gd name="connsiteX88" fmla="*/ 531414 w 1123945"/>
                <a:gd name="connsiteY88" fmla="*/ 120701 h 899770"/>
                <a:gd name="connsiteX89" fmla="*/ 520441 w 1123945"/>
                <a:gd name="connsiteY89" fmla="*/ 117044 h 899770"/>
                <a:gd name="connsiteX90" fmla="*/ 505811 w 1123945"/>
                <a:gd name="connsiteY90" fmla="*/ 113386 h 899770"/>
                <a:gd name="connsiteX91" fmla="*/ 494838 w 1123945"/>
                <a:gd name="connsiteY91" fmla="*/ 109728 h 899770"/>
                <a:gd name="connsiteX92" fmla="*/ 370480 w 1123945"/>
                <a:gd name="connsiteY92" fmla="*/ 106071 h 899770"/>
                <a:gd name="connsiteX93" fmla="*/ 348534 w 1123945"/>
                <a:gd name="connsiteY93" fmla="*/ 95098 h 899770"/>
                <a:gd name="connsiteX94" fmla="*/ 322931 w 1123945"/>
                <a:gd name="connsiteY94" fmla="*/ 87783 h 899770"/>
                <a:gd name="connsiteX95" fmla="*/ 311958 w 1123945"/>
                <a:gd name="connsiteY95" fmla="*/ 76810 h 899770"/>
                <a:gd name="connsiteX96" fmla="*/ 297328 w 1123945"/>
                <a:gd name="connsiteY96" fmla="*/ 73152 h 899770"/>
                <a:gd name="connsiteX97" fmla="*/ 286355 w 1123945"/>
                <a:gd name="connsiteY97" fmla="*/ 69495 h 899770"/>
                <a:gd name="connsiteX98" fmla="*/ 275382 w 1123945"/>
                <a:gd name="connsiteY98" fmla="*/ 62180 h 899770"/>
                <a:gd name="connsiteX99" fmla="*/ 253436 w 1123945"/>
                <a:gd name="connsiteY99" fmla="*/ 54864 h 899770"/>
                <a:gd name="connsiteX100" fmla="*/ 242464 w 1123945"/>
                <a:gd name="connsiteY100" fmla="*/ 51207 h 899770"/>
                <a:gd name="connsiteX101" fmla="*/ 231491 w 1123945"/>
                <a:gd name="connsiteY101" fmla="*/ 47549 h 899770"/>
                <a:gd name="connsiteX102" fmla="*/ 216860 w 1123945"/>
                <a:gd name="connsiteY102" fmla="*/ 43892 h 899770"/>
                <a:gd name="connsiteX103" fmla="*/ 205888 w 1123945"/>
                <a:gd name="connsiteY103" fmla="*/ 36576 h 899770"/>
                <a:gd name="connsiteX104" fmla="*/ 183942 w 1123945"/>
                <a:gd name="connsiteY104" fmla="*/ 29261 h 899770"/>
                <a:gd name="connsiteX105" fmla="*/ 158339 w 1123945"/>
                <a:gd name="connsiteY105" fmla="*/ 14631 h 899770"/>
                <a:gd name="connsiteX106" fmla="*/ 147366 w 1123945"/>
                <a:gd name="connsiteY106" fmla="*/ 7316 h 899770"/>
                <a:gd name="connsiteX107" fmla="*/ 125420 w 1123945"/>
                <a:gd name="connsiteY107" fmla="*/ 0 h 899770"/>
                <a:gd name="connsiteX108" fmla="*/ 88844 w 1123945"/>
                <a:gd name="connsiteY108" fmla="*/ 3658 h 899770"/>
                <a:gd name="connsiteX109" fmla="*/ 77872 w 1123945"/>
                <a:gd name="connsiteY109" fmla="*/ 10973 h 899770"/>
                <a:gd name="connsiteX110" fmla="*/ 63241 w 1123945"/>
                <a:gd name="connsiteY110" fmla="*/ 14631 h 899770"/>
                <a:gd name="connsiteX111" fmla="*/ 52268 w 1123945"/>
                <a:gd name="connsiteY111" fmla="*/ 21946 h 899770"/>
                <a:gd name="connsiteX112" fmla="*/ 33980 w 1123945"/>
                <a:gd name="connsiteY112" fmla="*/ 25604 h 899770"/>
                <a:gd name="connsiteX113" fmla="*/ 23008 w 1123945"/>
                <a:gd name="connsiteY113" fmla="*/ 36576 h 899770"/>
                <a:gd name="connsiteX114" fmla="*/ 19350 w 1123945"/>
                <a:gd name="connsiteY114" fmla="*/ 51207 h 899770"/>
                <a:gd name="connsiteX115" fmla="*/ 15692 w 1123945"/>
                <a:gd name="connsiteY115" fmla="*/ 62180 h 899770"/>
                <a:gd name="connsiteX116" fmla="*/ 33980 w 1123945"/>
                <a:gd name="connsiteY116" fmla="*/ 102413 h 899770"/>
                <a:gd name="connsiteX117" fmla="*/ 37638 w 1123945"/>
                <a:gd name="connsiteY117" fmla="*/ 113386 h 899770"/>
                <a:gd name="connsiteX118" fmla="*/ 30323 w 1123945"/>
                <a:gd name="connsiteY118" fmla="*/ 157277 h 899770"/>
                <a:gd name="connsiteX119" fmla="*/ 15692 w 1123945"/>
                <a:gd name="connsiteY119" fmla="*/ 179223 h 899770"/>
                <a:gd name="connsiteX120" fmla="*/ 8377 w 1123945"/>
                <a:gd name="connsiteY120" fmla="*/ 190196 h 899770"/>
                <a:gd name="connsiteX121" fmla="*/ 4720 w 1123945"/>
                <a:gd name="connsiteY121" fmla="*/ 201168 h 899770"/>
                <a:gd name="connsiteX122" fmla="*/ 4720 w 1123945"/>
                <a:gd name="connsiteY122" fmla="*/ 270663 h 899770"/>
                <a:gd name="connsiteX123" fmla="*/ 15692 w 1123945"/>
                <a:gd name="connsiteY123" fmla="*/ 285293 h 899770"/>
                <a:gd name="connsiteX124" fmla="*/ 23008 w 1123945"/>
                <a:gd name="connsiteY124" fmla="*/ 296266 h 899770"/>
                <a:gd name="connsiteX125" fmla="*/ 37638 w 1123945"/>
                <a:gd name="connsiteY125" fmla="*/ 321869 h 899770"/>
                <a:gd name="connsiteX126" fmla="*/ 48611 w 1123945"/>
                <a:gd name="connsiteY126" fmla="*/ 347472 h 899770"/>
                <a:gd name="connsiteX127" fmla="*/ 59584 w 1123945"/>
                <a:gd name="connsiteY127" fmla="*/ 354788 h 899770"/>
                <a:gd name="connsiteX128" fmla="*/ 77872 w 1123945"/>
                <a:gd name="connsiteY128" fmla="*/ 373076 h 899770"/>
                <a:gd name="connsiteX129" fmla="*/ 92502 w 1123945"/>
                <a:gd name="connsiteY129" fmla="*/ 391364 h 899770"/>
                <a:gd name="connsiteX130" fmla="*/ 114448 w 1123945"/>
                <a:gd name="connsiteY130" fmla="*/ 398679 h 899770"/>
                <a:gd name="connsiteX131" fmla="*/ 114448 w 1123945"/>
                <a:gd name="connsiteY131" fmla="*/ 409652 h 899770"/>
                <a:gd name="connsiteX0" fmla="*/ 114448 w 1123945"/>
                <a:gd name="connsiteY0" fmla="*/ 409652 h 899770"/>
                <a:gd name="connsiteX1" fmla="*/ 114448 w 1123945"/>
                <a:gd name="connsiteY1" fmla="*/ 409652 h 899770"/>
                <a:gd name="connsiteX2" fmla="*/ 151024 w 1123945"/>
                <a:gd name="connsiteY2" fmla="*/ 435255 h 899770"/>
                <a:gd name="connsiteX3" fmla="*/ 172969 w 1123945"/>
                <a:gd name="connsiteY3" fmla="*/ 442570 h 899770"/>
                <a:gd name="connsiteX4" fmla="*/ 183942 w 1123945"/>
                <a:gd name="connsiteY4" fmla="*/ 453543 h 899770"/>
                <a:gd name="connsiteX5" fmla="*/ 216860 w 1123945"/>
                <a:gd name="connsiteY5" fmla="*/ 464516 h 899770"/>
                <a:gd name="connsiteX6" fmla="*/ 227833 w 1123945"/>
                <a:gd name="connsiteY6" fmla="*/ 468173 h 899770"/>
                <a:gd name="connsiteX7" fmla="*/ 202230 w 1123945"/>
                <a:gd name="connsiteY7" fmla="*/ 519379 h 899770"/>
                <a:gd name="connsiteX8" fmla="*/ 249778 w 1123945"/>
                <a:gd name="connsiteY8" fmla="*/ 548640 h 899770"/>
                <a:gd name="connsiteX9" fmla="*/ 297328 w 1123945"/>
                <a:gd name="connsiteY9" fmla="*/ 515722 h 899770"/>
                <a:gd name="connsiteX10" fmla="*/ 319273 w 1123945"/>
                <a:gd name="connsiteY10" fmla="*/ 530352 h 899770"/>
                <a:gd name="connsiteX11" fmla="*/ 326588 w 1123945"/>
                <a:gd name="connsiteY11" fmla="*/ 537668 h 899770"/>
                <a:gd name="connsiteX12" fmla="*/ 348534 w 1123945"/>
                <a:gd name="connsiteY12" fmla="*/ 544983 h 899770"/>
                <a:gd name="connsiteX13" fmla="*/ 392425 w 1123945"/>
                <a:gd name="connsiteY13" fmla="*/ 552298 h 899770"/>
                <a:gd name="connsiteX14" fmla="*/ 407056 w 1123945"/>
                <a:gd name="connsiteY14" fmla="*/ 559613 h 899770"/>
                <a:gd name="connsiteX15" fmla="*/ 432659 w 1123945"/>
                <a:gd name="connsiteY15" fmla="*/ 574244 h 899770"/>
                <a:gd name="connsiteX16" fmla="*/ 447289 w 1123945"/>
                <a:gd name="connsiteY16" fmla="*/ 585216 h 899770"/>
                <a:gd name="connsiteX17" fmla="*/ 458262 w 1123945"/>
                <a:gd name="connsiteY17" fmla="*/ 588874 h 899770"/>
                <a:gd name="connsiteX18" fmla="*/ 472892 w 1123945"/>
                <a:gd name="connsiteY18" fmla="*/ 599847 h 899770"/>
                <a:gd name="connsiteX19" fmla="*/ 480208 w 1123945"/>
                <a:gd name="connsiteY19" fmla="*/ 607162 h 899770"/>
                <a:gd name="connsiteX20" fmla="*/ 491180 w 1123945"/>
                <a:gd name="connsiteY20" fmla="*/ 610820 h 899770"/>
                <a:gd name="connsiteX21" fmla="*/ 513126 w 1123945"/>
                <a:gd name="connsiteY21" fmla="*/ 621792 h 899770"/>
                <a:gd name="connsiteX22" fmla="*/ 546044 w 1123945"/>
                <a:gd name="connsiteY22" fmla="*/ 640080 h 899770"/>
                <a:gd name="connsiteX23" fmla="*/ 564332 w 1123945"/>
                <a:gd name="connsiteY23" fmla="*/ 643738 h 899770"/>
                <a:gd name="connsiteX24" fmla="*/ 586278 w 1123945"/>
                <a:gd name="connsiteY24" fmla="*/ 651053 h 899770"/>
                <a:gd name="connsiteX25" fmla="*/ 597251 w 1123945"/>
                <a:gd name="connsiteY25" fmla="*/ 654711 h 899770"/>
                <a:gd name="connsiteX26" fmla="*/ 619196 w 1123945"/>
                <a:gd name="connsiteY26" fmla="*/ 676656 h 899770"/>
                <a:gd name="connsiteX27" fmla="*/ 637484 w 1123945"/>
                <a:gd name="connsiteY27" fmla="*/ 694944 h 899770"/>
                <a:gd name="connsiteX28" fmla="*/ 644800 w 1123945"/>
                <a:gd name="connsiteY28" fmla="*/ 702260 h 899770"/>
                <a:gd name="connsiteX29" fmla="*/ 670403 w 1123945"/>
                <a:gd name="connsiteY29" fmla="*/ 720548 h 899770"/>
                <a:gd name="connsiteX30" fmla="*/ 685033 w 1123945"/>
                <a:gd name="connsiteY30" fmla="*/ 727863 h 899770"/>
                <a:gd name="connsiteX31" fmla="*/ 696006 w 1123945"/>
                <a:gd name="connsiteY31" fmla="*/ 735178 h 899770"/>
                <a:gd name="connsiteX32" fmla="*/ 706979 w 1123945"/>
                <a:gd name="connsiteY32" fmla="*/ 738836 h 899770"/>
                <a:gd name="connsiteX33" fmla="*/ 728924 w 1123945"/>
                <a:gd name="connsiteY33" fmla="*/ 749808 h 899770"/>
                <a:gd name="connsiteX34" fmla="*/ 736240 w 1123945"/>
                <a:gd name="connsiteY34" fmla="*/ 760781 h 899770"/>
                <a:gd name="connsiteX35" fmla="*/ 761843 w 1123945"/>
                <a:gd name="connsiteY35" fmla="*/ 768096 h 899770"/>
                <a:gd name="connsiteX36" fmla="*/ 783788 w 1123945"/>
                <a:gd name="connsiteY36" fmla="*/ 782727 h 899770"/>
                <a:gd name="connsiteX37" fmla="*/ 794761 w 1123945"/>
                <a:gd name="connsiteY37" fmla="*/ 786384 h 899770"/>
                <a:gd name="connsiteX38" fmla="*/ 834995 w 1123945"/>
                <a:gd name="connsiteY38" fmla="*/ 797357 h 899770"/>
                <a:gd name="connsiteX39" fmla="*/ 845968 w 1123945"/>
                <a:gd name="connsiteY39" fmla="*/ 804672 h 899770"/>
                <a:gd name="connsiteX40" fmla="*/ 860598 w 1123945"/>
                <a:gd name="connsiteY40" fmla="*/ 808330 h 899770"/>
                <a:gd name="connsiteX41" fmla="*/ 897174 w 1123945"/>
                <a:gd name="connsiteY41" fmla="*/ 822960 h 899770"/>
                <a:gd name="connsiteX42" fmla="*/ 919120 w 1123945"/>
                <a:gd name="connsiteY42" fmla="*/ 837591 h 899770"/>
                <a:gd name="connsiteX43" fmla="*/ 944723 w 1123945"/>
                <a:gd name="connsiteY43" fmla="*/ 859536 h 899770"/>
                <a:gd name="connsiteX44" fmla="*/ 977641 w 1123945"/>
                <a:gd name="connsiteY44" fmla="*/ 888797 h 899770"/>
                <a:gd name="connsiteX45" fmla="*/ 992272 w 1123945"/>
                <a:gd name="connsiteY45" fmla="*/ 896112 h 899770"/>
                <a:gd name="connsiteX46" fmla="*/ 1010560 w 1123945"/>
                <a:gd name="connsiteY46" fmla="*/ 899770 h 899770"/>
                <a:gd name="connsiteX47" fmla="*/ 1080054 w 1123945"/>
                <a:gd name="connsiteY47" fmla="*/ 896112 h 899770"/>
                <a:gd name="connsiteX48" fmla="*/ 1102000 w 1123945"/>
                <a:gd name="connsiteY48" fmla="*/ 888797 h 899770"/>
                <a:gd name="connsiteX49" fmla="*/ 1112972 w 1123945"/>
                <a:gd name="connsiteY49" fmla="*/ 877824 h 899770"/>
                <a:gd name="connsiteX50" fmla="*/ 1120288 w 1123945"/>
                <a:gd name="connsiteY50" fmla="*/ 837591 h 899770"/>
                <a:gd name="connsiteX51" fmla="*/ 1123945 w 1123945"/>
                <a:gd name="connsiteY51" fmla="*/ 826618 h 899770"/>
                <a:gd name="connsiteX52" fmla="*/ 1120288 w 1123945"/>
                <a:gd name="connsiteY52" fmla="*/ 764439 h 899770"/>
                <a:gd name="connsiteX53" fmla="*/ 1102000 w 1123945"/>
                <a:gd name="connsiteY53" fmla="*/ 731520 h 899770"/>
                <a:gd name="connsiteX54" fmla="*/ 1087369 w 1123945"/>
                <a:gd name="connsiteY54" fmla="*/ 705917 h 899770"/>
                <a:gd name="connsiteX55" fmla="*/ 1076396 w 1123945"/>
                <a:gd name="connsiteY55" fmla="*/ 680314 h 899770"/>
                <a:gd name="connsiteX56" fmla="*/ 1065424 w 1123945"/>
                <a:gd name="connsiteY56" fmla="*/ 654711 h 899770"/>
                <a:gd name="connsiteX57" fmla="*/ 1061766 w 1123945"/>
                <a:gd name="connsiteY57" fmla="*/ 640080 h 899770"/>
                <a:gd name="connsiteX58" fmla="*/ 1054451 w 1123945"/>
                <a:gd name="connsiteY58" fmla="*/ 625450 h 899770"/>
                <a:gd name="connsiteX59" fmla="*/ 1050793 w 1123945"/>
                <a:gd name="connsiteY59" fmla="*/ 614477 h 899770"/>
                <a:gd name="connsiteX60" fmla="*/ 1054451 w 1123945"/>
                <a:gd name="connsiteY60" fmla="*/ 566928 h 899770"/>
                <a:gd name="connsiteX61" fmla="*/ 1058108 w 1123945"/>
                <a:gd name="connsiteY61" fmla="*/ 552298 h 899770"/>
                <a:gd name="connsiteX62" fmla="*/ 1069081 w 1123945"/>
                <a:gd name="connsiteY62" fmla="*/ 526695 h 899770"/>
                <a:gd name="connsiteX63" fmla="*/ 1076396 w 1123945"/>
                <a:gd name="connsiteY63" fmla="*/ 515722 h 899770"/>
                <a:gd name="connsiteX64" fmla="*/ 1065424 w 1123945"/>
                <a:gd name="connsiteY64" fmla="*/ 391364 h 899770"/>
                <a:gd name="connsiteX65" fmla="*/ 1061766 w 1123945"/>
                <a:gd name="connsiteY65" fmla="*/ 373076 h 899770"/>
                <a:gd name="connsiteX66" fmla="*/ 1054451 w 1123945"/>
                <a:gd name="connsiteY66" fmla="*/ 365760 h 899770"/>
                <a:gd name="connsiteX67" fmla="*/ 1039820 w 1123945"/>
                <a:gd name="connsiteY67" fmla="*/ 343815 h 899770"/>
                <a:gd name="connsiteX68" fmla="*/ 1028848 w 1123945"/>
                <a:gd name="connsiteY68" fmla="*/ 340157 h 899770"/>
                <a:gd name="connsiteX69" fmla="*/ 1010560 w 1123945"/>
                <a:gd name="connsiteY69" fmla="*/ 321869 h 899770"/>
                <a:gd name="connsiteX70" fmla="*/ 1003244 w 1123945"/>
                <a:gd name="connsiteY70" fmla="*/ 314554 h 899770"/>
                <a:gd name="connsiteX71" fmla="*/ 992272 w 1123945"/>
                <a:gd name="connsiteY71" fmla="*/ 307239 h 899770"/>
                <a:gd name="connsiteX72" fmla="*/ 984956 w 1123945"/>
                <a:gd name="connsiteY72" fmla="*/ 299924 h 899770"/>
                <a:gd name="connsiteX73" fmla="*/ 963011 w 1123945"/>
                <a:gd name="connsiteY73" fmla="*/ 292608 h 899770"/>
                <a:gd name="connsiteX74" fmla="*/ 952038 w 1123945"/>
                <a:gd name="connsiteY74" fmla="*/ 285293 h 899770"/>
                <a:gd name="connsiteX75" fmla="*/ 824022 w 1123945"/>
                <a:gd name="connsiteY75" fmla="*/ 270663 h 899770"/>
                <a:gd name="connsiteX76" fmla="*/ 747212 w 1123945"/>
                <a:gd name="connsiteY76" fmla="*/ 270663 h 899770"/>
                <a:gd name="connsiteX77" fmla="*/ 728924 w 1123945"/>
                <a:gd name="connsiteY77" fmla="*/ 267005 h 899770"/>
                <a:gd name="connsiteX78" fmla="*/ 725267 w 1123945"/>
                <a:gd name="connsiteY78" fmla="*/ 256032 h 899770"/>
                <a:gd name="connsiteX79" fmla="*/ 717952 w 1123945"/>
                <a:gd name="connsiteY79" fmla="*/ 245060 h 899770"/>
                <a:gd name="connsiteX80" fmla="*/ 710636 w 1123945"/>
                <a:gd name="connsiteY80" fmla="*/ 208484 h 899770"/>
                <a:gd name="connsiteX81" fmla="*/ 703321 w 1123945"/>
                <a:gd name="connsiteY81" fmla="*/ 201168 h 899770"/>
                <a:gd name="connsiteX82" fmla="*/ 688691 w 1123945"/>
                <a:gd name="connsiteY82" fmla="*/ 182880 h 899770"/>
                <a:gd name="connsiteX83" fmla="*/ 670403 w 1123945"/>
                <a:gd name="connsiteY83" fmla="*/ 164592 h 899770"/>
                <a:gd name="connsiteX84" fmla="*/ 659430 w 1123945"/>
                <a:gd name="connsiteY84" fmla="*/ 153620 h 899770"/>
                <a:gd name="connsiteX85" fmla="*/ 633827 w 1123945"/>
                <a:gd name="connsiteY85" fmla="*/ 146304 h 899770"/>
                <a:gd name="connsiteX86" fmla="*/ 600908 w 1123945"/>
                <a:gd name="connsiteY86" fmla="*/ 131674 h 899770"/>
                <a:gd name="connsiteX87" fmla="*/ 557017 w 1123945"/>
                <a:gd name="connsiteY87" fmla="*/ 128016 h 899770"/>
                <a:gd name="connsiteX88" fmla="*/ 531414 w 1123945"/>
                <a:gd name="connsiteY88" fmla="*/ 120701 h 899770"/>
                <a:gd name="connsiteX89" fmla="*/ 520441 w 1123945"/>
                <a:gd name="connsiteY89" fmla="*/ 117044 h 899770"/>
                <a:gd name="connsiteX90" fmla="*/ 505811 w 1123945"/>
                <a:gd name="connsiteY90" fmla="*/ 113386 h 899770"/>
                <a:gd name="connsiteX91" fmla="*/ 494838 w 1123945"/>
                <a:gd name="connsiteY91" fmla="*/ 109728 h 899770"/>
                <a:gd name="connsiteX92" fmla="*/ 370480 w 1123945"/>
                <a:gd name="connsiteY92" fmla="*/ 106071 h 899770"/>
                <a:gd name="connsiteX93" fmla="*/ 348534 w 1123945"/>
                <a:gd name="connsiteY93" fmla="*/ 95098 h 899770"/>
                <a:gd name="connsiteX94" fmla="*/ 322931 w 1123945"/>
                <a:gd name="connsiteY94" fmla="*/ 87783 h 899770"/>
                <a:gd name="connsiteX95" fmla="*/ 311958 w 1123945"/>
                <a:gd name="connsiteY95" fmla="*/ 76810 h 899770"/>
                <a:gd name="connsiteX96" fmla="*/ 297328 w 1123945"/>
                <a:gd name="connsiteY96" fmla="*/ 73152 h 899770"/>
                <a:gd name="connsiteX97" fmla="*/ 286355 w 1123945"/>
                <a:gd name="connsiteY97" fmla="*/ 69495 h 899770"/>
                <a:gd name="connsiteX98" fmla="*/ 275382 w 1123945"/>
                <a:gd name="connsiteY98" fmla="*/ 62180 h 899770"/>
                <a:gd name="connsiteX99" fmla="*/ 253436 w 1123945"/>
                <a:gd name="connsiteY99" fmla="*/ 54864 h 899770"/>
                <a:gd name="connsiteX100" fmla="*/ 242464 w 1123945"/>
                <a:gd name="connsiteY100" fmla="*/ 51207 h 899770"/>
                <a:gd name="connsiteX101" fmla="*/ 231491 w 1123945"/>
                <a:gd name="connsiteY101" fmla="*/ 47549 h 899770"/>
                <a:gd name="connsiteX102" fmla="*/ 216860 w 1123945"/>
                <a:gd name="connsiteY102" fmla="*/ 43892 h 899770"/>
                <a:gd name="connsiteX103" fmla="*/ 205888 w 1123945"/>
                <a:gd name="connsiteY103" fmla="*/ 36576 h 899770"/>
                <a:gd name="connsiteX104" fmla="*/ 183942 w 1123945"/>
                <a:gd name="connsiteY104" fmla="*/ 29261 h 899770"/>
                <a:gd name="connsiteX105" fmla="*/ 158339 w 1123945"/>
                <a:gd name="connsiteY105" fmla="*/ 14631 h 899770"/>
                <a:gd name="connsiteX106" fmla="*/ 147366 w 1123945"/>
                <a:gd name="connsiteY106" fmla="*/ 7316 h 899770"/>
                <a:gd name="connsiteX107" fmla="*/ 125420 w 1123945"/>
                <a:gd name="connsiteY107" fmla="*/ 0 h 899770"/>
                <a:gd name="connsiteX108" fmla="*/ 88844 w 1123945"/>
                <a:gd name="connsiteY108" fmla="*/ 3658 h 899770"/>
                <a:gd name="connsiteX109" fmla="*/ 77872 w 1123945"/>
                <a:gd name="connsiteY109" fmla="*/ 10973 h 899770"/>
                <a:gd name="connsiteX110" fmla="*/ 63241 w 1123945"/>
                <a:gd name="connsiteY110" fmla="*/ 14631 h 899770"/>
                <a:gd name="connsiteX111" fmla="*/ 52268 w 1123945"/>
                <a:gd name="connsiteY111" fmla="*/ 21946 h 899770"/>
                <a:gd name="connsiteX112" fmla="*/ 33980 w 1123945"/>
                <a:gd name="connsiteY112" fmla="*/ 25604 h 899770"/>
                <a:gd name="connsiteX113" fmla="*/ 23008 w 1123945"/>
                <a:gd name="connsiteY113" fmla="*/ 36576 h 899770"/>
                <a:gd name="connsiteX114" fmla="*/ 19350 w 1123945"/>
                <a:gd name="connsiteY114" fmla="*/ 51207 h 899770"/>
                <a:gd name="connsiteX115" fmla="*/ 15692 w 1123945"/>
                <a:gd name="connsiteY115" fmla="*/ 62180 h 899770"/>
                <a:gd name="connsiteX116" fmla="*/ 33980 w 1123945"/>
                <a:gd name="connsiteY116" fmla="*/ 102413 h 899770"/>
                <a:gd name="connsiteX117" fmla="*/ 37638 w 1123945"/>
                <a:gd name="connsiteY117" fmla="*/ 113386 h 899770"/>
                <a:gd name="connsiteX118" fmla="*/ 30323 w 1123945"/>
                <a:gd name="connsiteY118" fmla="*/ 157277 h 899770"/>
                <a:gd name="connsiteX119" fmla="*/ 15692 w 1123945"/>
                <a:gd name="connsiteY119" fmla="*/ 179223 h 899770"/>
                <a:gd name="connsiteX120" fmla="*/ 8377 w 1123945"/>
                <a:gd name="connsiteY120" fmla="*/ 190196 h 899770"/>
                <a:gd name="connsiteX121" fmla="*/ 4720 w 1123945"/>
                <a:gd name="connsiteY121" fmla="*/ 201168 h 899770"/>
                <a:gd name="connsiteX122" fmla="*/ 4720 w 1123945"/>
                <a:gd name="connsiteY122" fmla="*/ 270663 h 899770"/>
                <a:gd name="connsiteX123" fmla="*/ 15692 w 1123945"/>
                <a:gd name="connsiteY123" fmla="*/ 285293 h 899770"/>
                <a:gd name="connsiteX124" fmla="*/ 23008 w 1123945"/>
                <a:gd name="connsiteY124" fmla="*/ 296266 h 899770"/>
                <a:gd name="connsiteX125" fmla="*/ 37638 w 1123945"/>
                <a:gd name="connsiteY125" fmla="*/ 321869 h 899770"/>
                <a:gd name="connsiteX126" fmla="*/ 48611 w 1123945"/>
                <a:gd name="connsiteY126" fmla="*/ 347472 h 899770"/>
                <a:gd name="connsiteX127" fmla="*/ 59584 w 1123945"/>
                <a:gd name="connsiteY127" fmla="*/ 354788 h 899770"/>
                <a:gd name="connsiteX128" fmla="*/ 77872 w 1123945"/>
                <a:gd name="connsiteY128" fmla="*/ 373076 h 899770"/>
                <a:gd name="connsiteX129" fmla="*/ 92502 w 1123945"/>
                <a:gd name="connsiteY129" fmla="*/ 391364 h 899770"/>
                <a:gd name="connsiteX130" fmla="*/ 114448 w 1123945"/>
                <a:gd name="connsiteY130" fmla="*/ 398679 h 899770"/>
                <a:gd name="connsiteX131" fmla="*/ 114448 w 1123945"/>
                <a:gd name="connsiteY131" fmla="*/ 409652 h 899770"/>
                <a:gd name="connsiteX0" fmla="*/ 114448 w 1123945"/>
                <a:gd name="connsiteY0" fmla="*/ 409652 h 899770"/>
                <a:gd name="connsiteX1" fmla="*/ 114448 w 1123945"/>
                <a:gd name="connsiteY1" fmla="*/ 409652 h 899770"/>
                <a:gd name="connsiteX2" fmla="*/ 151024 w 1123945"/>
                <a:gd name="connsiteY2" fmla="*/ 435255 h 899770"/>
                <a:gd name="connsiteX3" fmla="*/ 172969 w 1123945"/>
                <a:gd name="connsiteY3" fmla="*/ 442570 h 899770"/>
                <a:gd name="connsiteX4" fmla="*/ 183942 w 1123945"/>
                <a:gd name="connsiteY4" fmla="*/ 453543 h 899770"/>
                <a:gd name="connsiteX5" fmla="*/ 216860 w 1123945"/>
                <a:gd name="connsiteY5" fmla="*/ 464516 h 899770"/>
                <a:gd name="connsiteX6" fmla="*/ 129077 w 1123945"/>
                <a:gd name="connsiteY6" fmla="*/ 493776 h 899770"/>
                <a:gd name="connsiteX7" fmla="*/ 202230 w 1123945"/>
                <a:gd name="connsiteY7" fmla="*/ 519379 h 899770"/>
                <a:gd name="connsiteX8" fmla="*/ 249778 w 1123945"/>
                <a:gd name="connsiteY8" fmla="*/ 548640 h 899770"/>
                <a:gd name="connsiteX9" fmla="*/ 297328 w 1123945"/>
                <a:gd name="connsiteY9" fmla="*/ 515722 h 899770"/>
                <a:gd name="connsiteX10" fmla="*/ 319273 w 1123945"/>
                <a:gd name="connsiteY10" fmla="*/ 530352 h 899770"/>
                <a:gd name="connsiteX11" fmla="*/ 326588 w 1123945"/>
                <a:gd name="connsiteY11" fmla="*/ 537668 h 899770"/>
                <a:gd name="connsiteX12" fmla="*/ 348534 w 1123945"/>
                <a:gd name="connsiteY12" fmla="*/ 544983 h 899770"/>
                <a:gd name="connsiteX13" fmla="*/ 392425 w 1123945"/>
                <a:gd name="connsiteY13" fmla="*/ 552298 h 899770"/>
                <a:gd name="connsiteX14" fmla="*/ 407056 w 1123945"/>
                <a:gd name="connsiteY14" fmla="*/ 559613 h 899770"/>
                <a:gd name="connsiteX15" fmla="*/ 432659 w 1123945"/>
                <a:gd name="connsiteY15" fmla="*/ 574244 h 899770"/>
                <a:gd name="connsiteX16" fmla="*/ 447289 w 1123945"/>
                <a:gd name="connsiteY16" fmla="*/ 585216 h 899770"/>
                <a:gd name="connsiteX17" fmla="*/ 458262 w 1123945"/>
                <a:gd name="connsiteY17" fmla="*/ 588874 h 899770"/>
                <a:gd name="connsiteX18" fmla="*/ 472892 w 1123945"/>
                <a:gd name="connsiteY18" fmla="*/ 599847 h 899770"/>
                <a:gd name="connsiteX19" fmla="*/ 480208 w 1123945"/>
                <a:gd name="connsiteY19" fmla="*/ 607162 h 899770"/>
                <a:gd name="connsiteX20" fmla="*/ 491180 w 1123945"/>
                <a:gd name="connsiteY20" fmla="*/ 610820 h 899770"/>
                <a:gd name="connsiteX21" fmla="*/ 513126 w 1123945"/>
                <a:gd name="connsiteY21" fmla="*/ 621792 h 899770"/>
                <a:gd name="connsiteX22" fmla="*/ 546044 w 1123945"/>
                <a:gd name="connsiteY22" fmla="*/ 640080 h 899770"/>
                <a:gd name="connsiteX23" fmla="*/ 564332 w 1123945"/>
                <a:gd name="connsiteY23" fmla="*/ 643738 h 899770"/>
                <a:gd name="connsiteX24" fmla="*/ 586278 w 1123945"/>
                <a:gd name="connsiteY24" fmla="*/ 651053 h 899770"/>
                <a:gd name="connsiteX25" fmla="*/ 597251 w 1123945"/>
                <a:gd name="connsiteY25" fmla="*/ 654711 h 899770"/>
                <a:gd name="connsiteX26" fmla="*/ 619196 w 1123945"/>
                <a:gd name="connsiteY26" fmla="*/ 676656 h 899770"/>
                <a:gd name="connsiteX27" fmla="*/ 637484 w 1123945"/>
                <a:gd name="connsiteY27" fmla="*/ 694944 h 899770"/>
                <a:gd name="connsiteX28" fmla="*/ 644800 w 1123945"/>
                <a:gd name="connsiteY28" fmla="*/ 702260 h 899770"/>
                <a:gd name="connsiteX29" fmla="*/ 670403 w 1123945"/>
                <a:gd name="connsiteY29" fmla="*/ 720548 h 899770"/>
                <a:gd name="connsiteX30" fmla="*/ 685033 w 1123945"/>
                <a:gd name="connsiteY30" fmla="*/ 727863 h 899770"/>
                <a:gd name="connsiteX31" fmla="*/ 696006 w 1123945"/>
                <a:gd name="connsiteY31" fmla="*/ 735178 h 899770"/>
                <a:gd name="connsiteX32" fmla="*/ 706979 w 1123945"/>
                <a:gd name="connsiteY32" fmla="*/ 738836 h 899770"/>
                <a:gd name="connsiteX33" fmla="*/ 728924 w 1123945"/>
                <a:gd name="connsiteY33" fmla="*/ 749808 h 899770"/>
                <a:gd name="connsiteX34" fmla="*/ 736240 w 1123945"/>
                <a:gd name="connsiteY34" fmla="*/ 760781 h 899770"/>
                <a:gd name="connsiteX35" fmla="*/ 761843 w 1123945"/>
                <a:gd name="connsiteY35" fmla="*/ 768096 h 899770"/>
                <a:gd name="connsiteX36" fmla="*/ 783788 w 1123945"/>
                <a:gd name="connsiteY36" fmla="*/ 782727 h 899770"/>
                <a:gd name="connsiteX37" fmla="*/ 794761 w 1123945"/>
                <a:gd name="connsiteY37" fmla="*/ 786384 h 899770"/>
                <a:gd name="connsiteX38" fmla="*/ 834995 w 1123945"/>
                <a:gd name="connsiteY38" fmla="*/ 797357 h 899770"/>
                <a:gd name="connsiteX39" fmla="*/ 845968 w 1123945"/>
                <a:gd name="connsiteY39" fmla="*/ 804672 h 899770"/>
                <a:gd name="connsiteX40" fmla="*/ 860598 w 1123945"/>
                <a:gd name="connsiteY40" fmla="*/ 808330 h 899770"/>
                <a:gd name="connsiteX41" fmla="*/ 897174 w 1123945"/>
                <a:gd name="connsiteY41" fmla="*/ 822960 h 899770"/>
                <a:gd name="connsiteX42" fmla="*/ 919120 w 1123945"/>
                <a:gd name="connsiteY42" fmla="*/ 837591 h 899770"/>
                <a:gd name="connsiteX43" fmla="*/ 944723 w 1123945"/>
                <a:gd name="connsiteY43" fmla="*/ 859536 h 899770"/>
                <a:gd name="connsiteX44" fmla="*/ 977641 w 1123945"/>
                <a:gd name="connsiteY44" fmla="*/ 888797 h 899770"/>
                <a:gd name="connsiteX45" fmla="*/ 992272 w 1123945"/>
                <a:gd name="connsiteY45" fmla="*/ 896112 h 899770"/>
                <a:gd name="connsiteX46" fmla="*/ 1010560 w 1123945"/>
                <a:gd name="connsiteY46" fmla="*/ 899770 h 899770"/>
                <a:gd name="connsiteX47" fmla="*/ 1080054 w 1123945"/>
                <a:gd name="connsiteY47" fmla="*/ 896112 h 899770"/>
                <a:gd name="connsiteX48" fmla="*/ 1102000 w 1123945"/>
                <a:gd name="connsiteY48" fmla="*/ 888797 h 899770"/>
                <a:gd name="connsiteX49" fmla="*/ 1112972 w 1123945"/>
                <a:gd name="connsiteY49" fmla="*/ 877824 h 899770"/>
                <a:gd name="connsiteX50" fmla="*/ 1120288 w 1123945"/>
                <a:gd name="connsiteY50" fmla="*/ 837591 h 899770"/>
                <a:gd name="connsiteX51" fmla="*/ 1123945 w 1123945"/>
                <a:gd name="connsiteY51" fmla="*/ 826618 h 899770"/>
                <a:gd name="connsiteX52" fmla="*/ 1120288 w 1123945"/>
                <a:gd name="connsiteY52" fmla="*/ 764439 h 899770"/>
                <a:gd name="connsiteX53" fmla="*/ 1102000 w 1123945"/>
                <a:gd name="connsiteY53" fmla="*/ 731520 h 899770"/>
                <a:gd name="connsiteX54" fmla="*/ 1087369 w 1123945"/>
                <a:gd name="connsiteY54" fmla="*/ 705917 h 899770"/>
                <a:gd name="connsiteX55" fmla="*/ 1076396 w 1123945"/>
                <a:gd name="connsiteY55" fmla="*/ 680314 h 899770"/>
                <a:gd name="connsiteX56" fmla="*/ 1065424 w 1123945"/>
                <a:gd name="connsiteY56" fmla="*/ 654711 h 899770"/>
                <a:gd name="connsiteX57" fmla="*/ 1061766 w 1123945"/>
                <a:gd name="connsiteY57" fmla="*/ 640080 h 899770"/>
                <a:gd name="connsiteX58" fmla="*/ 1054451 w 1123945"/>
                <a:gd name="connsiteY58" fmla="*/ 625450 h 899770"/>
                <a:gd name="connsiteX59" fmla="*/ 1050793 w 1123945"/>
                <a:gd name="connsiteY59" fmla="*/ 614477 h 899770"/>
                <a:gd name="connsiteX60" fmla="*/ 1054451 w 1123945"/>
                <a:gd name="connsiteY60" fmla="*/ 566928 h 899770"/>
                <a:gd name="connsiteX61" fmla="*/ 1058108 w 1123945"/>
                <a:gd name="connsiteY61" fmla="*/ 552298 h 899770"/>
                <a:gd name="connsiteX62" fmla="*/ 1069081 w 1123945"/>
                <a:gd name="connsiteY62" fmla="*/ 526695 h 899770"/>
                <a:gd name="connsiteX63" fmla="*/ 1076396 w 1123945"/>
                <a:gd name="connsiteY63" fmla="*/ 515722 h 899770"/>
                <a:gd name="connsiteX64" fmla="*/ 1065424 w 1123945"/>
                <a:gd name="connsiteY64" fmla="*/ 391364 h 899770"/>
                <a:gd name="connsiteX65" fmla="*/ 1061766 w 1123945"/>
                <a:gd name="connsiteY65" fmla="*/ 373076 h 899770"/>
                <a:gd name="connsiteX66" fmla="*/ 1054451 w 1123945"/>
                <a:gd name="connsiteY66" fmla="*/ 365760 h 899770"/>
                <a:gd name="connsiteX67" fmla="*/ 1039820 w 1123945"/>
                <a:gd name="connsiteY67" fmla="*/ 343815 h 899770"/>
                <a:gd name="connsiteX68" fmla="*/ 1028848 w 1123945"/>
                <a:gd name="connsiteY68" fmla="*/ 340157 h 899770"/>
                <a:gd name="connsiteX69" fmla="*/ 1010560 w 1123945"/>
                <a:gd name="connsiteY69" fmla="*/ 321869 h 899770"/>
                <a:gd name="connsiteX70" fmla="*/ 1003244 w 1123945"/>
                <a:gd name="connsiteY70" fmla="*/ 314554 h 899770"/>
                <a:gd name="connsiteX71" fmla="*/ 992272 w 1123945"/>
                <a:gd name="connsiteY71" fmla="*/ 307239 h 899770"/>
                <a:gd name="connsiteX72" fmla="*/ 984956 w 1123945"/>
                <a:gd name="connsiteY72" fmla="*/ 299924 h 899770"/>
                <a:gd name="connsiteX73" fmla="*/ 963011 w 1123945"/>
                <a:gd name="connsiteY73" fmla="*/ 292608 h 899770"/>
                <a:gd name="connsiteX74" fmla="*/ 952038 w 1123945"/>
                <a:gd name="connsiteY74" fmla="*/ 285293 h 899770"/>
                <a:gd name="connsiteX75" fmla="*/ 824022 w 1123945"/>
                <a:gd name="connsiteY75" fmla="*/ 270663 h 899770"/>
                <a:gd name="connsiteX76" fmla="*/ 747212 w 1123945"/>
                <a:gd name="connsiteY76" fmla="*/ 270663 h 899770"/>
                <a:gd name="connsiteX77" fmla="*/ 728924 w 1123945"/>
                <a:gd name="connsiteY77" fmla="*/ 267005 h 899770"/>
                <a:gd name="connsiteX78" fmla="*/ 725267 w 1123945"/>
                <a:gd name="connsiteY78" fmla="*/ 256032 h 899770"/>
                <a:gd name="connsiteX79" fmla="*/ 717952 w 1123945"/>
                <a:gd name="connsiteY79" fmla="*/ 245060 h 899770"/>
                <a:gd name="connsiteX80" fmla="*/ 710636 w 1123945"/>
                <a:gd name="connsiteY80" fmla="*/ 208484 h 899770"/>
                <a:gd name="connsiteX81" fmla="*/ 703321 w 1123945"/>
                <a:gd name="connsiteY81" fmla="*/ 201168 h 899770"/>
                <a:gd name="connsiteX82" fmla="*/ 688691 w 1123945"/>
                <a:gd name="connsiteY82" fmla="*/ 182880 h 899770"/>
                <a:gd name="connsiteX83" fmla="*/ 670403 w 1123945"/>
                <a:gd name="connsiteY83" fmla="*/ 164592 h 899770"/>
                <a:gd name="connsiteX84" fmla="*/ 659430 w 1123945"/>
                <a:gd name="connsiteY84" fmla="*/ 153620 h 899770"/>
                <a:gd name="connsiteX85" fmla="*/ 633827 w 1123945"/>
                <a:gd name="connsiteY85" fmla="*/ 146304 h 899770"/>
                <a:gd name="connsiteX86" fmla="*/ 600908 w 1123945"/>
                <a:gd name="connsiteY86" fmla="*/ 131674 h 899770"/>
                <a:gd name="connsiteX87" fmla="*/ 557017 w 1123945"/>
                <a:gd name="connsiteY87" fmla="*/ 128016 h 899770"/>
                <a:gd name="connsiteX88" fmla="*/ 531414 w 1123945"/>
                <a:gd name="connsiteY88" fmla="*/ 120701 h 899770"/>
                <a:gd name="connsiteX89" fmla="*/ 520441 w 1123945"/>
                <a:gd name="connsiteY89" fmla="*/ 117044 h 899770"/>
                <a:gd name="connsiteX90" fmla="*/ 505811 w 1123945"/>
                <a:gd name="connsiteY90" fmla="*/ 113386 h 899770"/>
                <a:gd name="connsiteX91" fmla="*/ 494838 w 1123945"/>
                <a:gd name="connsiteY91" fmla="*/ 109728 h 899770"/>
                <a:gd name="connsiteX92" fmla="*/ 370480 w 1123945"/>
                <a:gd name="connsiteY92" fmla="*/ 106071 h 899770"/>
                <a:gd name="connsiteX93" fmla="*/ 348534 w 1123945"/>
                <a:gd name="connsiteY93" fmla="*/ 95098 h 899770"/>
                <a:gd name="connsiteX94" fmla="*/ 322931 w 1123945"/>
                <a:gd name="connsiteY94" fmla="*/ 87783 h 899770"/>
                <a:gd name="connsiteX95" fmla="*/ 311958 w 1123945"/>
                <a:gd name="connsiteY95" fmla="*/ 76810 h 899770"/>
                <a:gd name="connsiteX96" fmla="*/ 297328 w 1123945"/>
                <a:gd name="connsiteY96" fmla="*/ 73152 h 899770"/>
                <a:gd name="connsiteX97" fmla="*/ 286355 w 1123945"/>
                <a:gd name="connsiteY97" fmla="*/ 69495 h 899770"/>
                <a:gd name="connsiteX98" fmla="*/ 275382 w 1123945"/>
                <a:gd name="connsiteY98" fmla="*/ 62180 h 899770"/>
                <a:gd name="connsiteX99" fmla="*/ 253436 w 1123945"/>
                <a:gd name="connsiteY99" fmla="*/ 54864 h 899770"/>
                <a:gd name="connsiteX100" fmla="*/ 242464 w 1123945"/>
                <a:gd name="connsiteY100" fmla="*/ 51207 h 899770"/>
                <a:gd name="connsiteX101" fmla="*/ 231491 w 1123945"/>
                <a:gd name="connsiteY101" fmla="*/ 47549 h 899770"/>
                <a:gd name="connsiteX102" fmla="*/ 216860 w 1123945"/>
                <a:gd name="connsiteY102" fmla="*/ 43892 h 899770"/>
                <a:gd name="connsiteX103" fmla="*/ 205888 w 1123945"/>
                <a:gd name="connsiteY103" fmla="*/ 36576 h 899770"/>
                <a:gd name="connsiteX104" fmla="*/ 183942 w 1123945"/>
                <a:gd name="connsiteY104" fmla="*/ 29261 h 899770"/>
                <a:gd name="connsiteX105" fmla="*/ 158339 w 1123945"/>
                <a:gd name="connsiteY105" fmla="*/ 14631 h 899770"/>
                <a:gd name="connsiteX106" fmla="*/ 147366 w 1123945"/>
                <a:gd name="connsiteY106" fmla="*/ 7316 h 899770"/>
                <a:gd name="connsiteX107" fmla="*/ 125420 w 1123945"/>
                <a:gd name="connsiteY107" fmla="*/ 0 h 899770"/>
                <a:gd name="connsiteX108" fmla="*/ 88844 w 1123945"/>
                <a:gd name="connsiteY108" fmla="*/ 3658 h 899770"/>
                <a:gd name="connsiteX109" fmla="*/ 77872 w 1123945"/>
                <a:gd name="connsiteY109" fmla="*/ 10973 h 899770"/>
                <a:gd name="connsiteX110" fmla="*/ 63241 w 1123945"/>
                <a:gd name="connsiteY110" fmla="*/ 14631 h 899770"/>
                <a:gd name="connsiteX111" fmla="*/ 52268 w 1123945"/>
                <a:gd name="connsiteY111" fmla="*/ 21946 h 899770"/>
                <a:gd name="connsiteX112" fmla="*/ 33980 w 1123945"/>
                <a:gd name="connsiteY112" fmla="*/ 25604 h 899770"/>
                <a:gd name="connsiteX113" fmla="*/ 23008 w 1123945"/>
                <a:gd name="connsiteY113" fmla="*/ 36576 h 899770"/>
                <a:gd name="connsiteX114" fmla="*/ 19350 w 1123945"/>
                <a:gd name="connsiteY114" fmla="*/ 51207 h 899770"/>
                <a:gd name="connsiteX115" fmla="*/ 15692 w 1123945"/>
                <a:gd name="connsiteY115" fmla="*/ 62180 h 899770"/>
                <a:gd name="connsiteX116" fmla="*/ 33980 w 1123945"/>
                <a:gd name="connsiteY116" fmla="*/ 102413 h 899770"/>
                <a:gd name="connsiteX117" fmla="*/ 37638 w 1123945"/>
                <a:gd name="connsiteY117" fmla="*/ 113386 h 899770"/>
                <a:gd name="connsiteX118" fmla="*/ 30323 w 1123945"/>
                <a:gd name="connsiteY118" fmla="*/ 157277 h 899770"/>
                <a:gd name="connsiteX119" fmla="*/ 15692 w 1123945"/>
                <a:gd name="connsiteY119" fmla="*/ 179223 h 899770"/>
                <a:gd name="connsiteX120" fmla="*/ 8377 w 1123945"/>
                <a:gd name="connsiteY120" fmla="*/ 190196 h 899770"/>
                <a:gd name="connsiteX121" fmla="*/ 4720 w 1123945"/>
                <a:gd name="connsiteY121" fmla="*/ 201168 h 899770"/>
                <a:gd name="connsiteX122" fmla="*/ 4720 w 1123945"/>
                <a:gd name="connsiteY122" fmla="*/ 270663 h 899770"/>
                <a:gd name="connsiteX123" fmla="*/ 15692 w 1123945"/>
                <a:gd name="connsiteY123" fmla="*/ 285293 h 899770"/>
                <a:gd name="connsiteX124" fmla="*/ 23008 w 1123945"/>
                <a:gd name="connsiteY124" fmla="*/ 296266 h 899770"/>
                <a:gd name="connsiteX125" fmla="*/ 37638 w 1123945"/>
                <a:gd name="connsiteY125" fmla="*/ 321869 h 899770"/>
                <a:gd name="connsiteX126" fmla="*/ 48611 w 1123945"/>
                <a:gd name="connsiteY126" fmla="*/ 347472 h 899770"/>
                <a:gd name="connsiteX127" fmla="*/ 59584 w 1123945"/>
                <a:gd name="connsiteY127" fmla="*/ 354788 h 899770"/>
                <a:gd name="connsiteX128" fmla="*/ 77872 w 1123945"/>
                <a:gd name="connsiteY128" fmla="*/ 373076 h 899770"/>
                <a:gd name="connsiteX129" fmla="*/ 92502 w 1123945"/>
                <a:gd name="connsiteY129" fmla="*/ 391364 h 899770"/>
                <a:gd name="connsiteX130" fmla="*/ 114448 w 1123945"/>
                <a:gd name="connsiteY130" fmla="*/ 398679 h 899770"/>
                <a:gd name="connsiteX131" fmla="*/ 114448 w 1123945"/>
                <a:gd name="connsiteY131" fmla="*/ 409652 h 899770"/>
                <a:gd name="connsiteX0" fmla="*/ 114448 w 1123945"/>
                <a:gd name="connsiteY0" fmla="*/ 409652 h 899770"/>
                <a:gd name="connsiteX1" fmla="*/ 114448 w 1123945"/>
                <a:gd name="connsiteY1" fmla="*/ 409652 h 899770"/>
                <a:gd name="connsiteX2" fmla="*/ 151024 w 1123945"/>
                <a:gd name="connsiteY2" fmla="*/ 435255 h 899770"/>
                <a:gd name="connsiteX3" fmla="*/ 172969 w 1123945"/>
                <a:gd name="connsiteY3" fmla="*/ 442570 h 899770"/>
                <a:gd name="connsiteX4" fmla="*/ 183942 w 1123945"/>
                <a:gd name="connsiteY4" fmla="*/ 453543 h 899770"/>
                <a:gd name="connsiteX5" fmla="*/ 132735 w 1123945"/>
                <a:gd name="connsiteY5" fmla="*/ 464516 h 899770"/>
                <a:gd name="connsiteX6" fmla="*/ 129077 w 1123945"/>
                <a:gd name="connsiteY6" fmla="*/ 493776 h 899770"/>
                <a:gd name="connsiteX7" fmla="*/ 202230 w 1123945"/>
                <a:gd name="connsiteY7" fmla="*/ 519379 h 899770"/>
                <a:gd name="connsiteX8" fmla="*/ 249778 w 1123945"/>
                <a:gd name="connsiteY8" fmla="*/ 548640 h 899770"/>
                <a:gd name="connsiteX9" fmla="*/ 297328 w 1123945"/>
                <a:gd name="connsiteY9" fmla="*/ 515722 h 899770"/>
                <a:gd name="connsiteX10" fmla="*/ 319273 w 1123945"/>
                <a:gd name="connsiteY10" fmla="*/ 530352 h 899770"/>
                <a:gd name="connsiteX11" fmla="*/ 326588 w 1123945"/>
                <a:gd name="connsiteY11" fmla="*/ 537668 h 899770"/>
                <a:gd name="connsiteX12" fmla="*/ 348534 w 1123945"/>
                <a:gd name="connsiteY12" fmla="*/ 544983 h 899770"/>
                <a:gd name="connsiteX13" fmla="*/ 392425 w 1123945"/>
                <a:gd name="connsiteY13" fmla="*/ 552298 h 899770"/>
                <a:gd name="connsiteX14" fmla="*/ 407056 w 1123945"/>
                <a:gd name="connsiteY14" fmla="*/ 559613 h 899770"/>
                <a:gd name="connsiteX15" fmla="*/ 432659 w 1123945"/>
                <a:gd name="connsiteY15" fmla="*/ 574244 h 899770"/>
                <a:gd name="connsiteX16" fmla="*/ 447289 w 1123945"/>
                <a:gd name="connsiteY16" fmla="*/ 585216 h 899770"/>
                <a:gd name="connsiteX17" fmla="*/ 458262 w 1123945"/>
                <a:gd name="connsiteY17" fmla="*/ 588874 h 899770"/>
                <a:gd name="connsiteX18" fmla="*/ 472892 w 1123945"/>
                <a:gd name="connsiteY18" fmla="*/ 599847 h 899770"/>
                <a:gd name="connsiteX19" fmla="*/ 480208 w 1123945"/>
                <a:gd name="connsiteY19" fmla="*/ 607162 h 899770"/>
                <a:gd name="connsiteX20" fmla="*/ 491180 w 1123945"/>
                <a:gd name="connsiteY20" fmla="*/ 610820 h 899770"/>
                <a:gd name="connsiteX21" fmla="*/ 513126 w 1123945"/>
                <a:gd name="connsiteY21" fmla="*/ 621792 h 899770"/>
                <a:gd name="connsiteX22" fmla="*/ 546044 w 1123945"/>
                <a:gd name="connsiteY22" fmla="*/ 640080 h 899770"/>
                <a:gd name="connsiteX23" fmla="*/ 564332 w 1123945"/>
                <a:gd name="connsiteY23" fmla="*/ 643738 h 899770"/>
                <a:gd name="connsiteX24" fmla="*/ 586278 w 1123945"/>
                <a:gd name="connsiteY24" fmla="*/ 651053 h 899770"/>
                <a:gd name="connsiteX25" fmla="*/ 597251 w 1123945"/>
                <a:gd name="connsiteY25" fmla="*/ 654711 h 899770"/>
                <a:gd name="connsiteX26" fmla="*/ 619196 w 1123945"/>
                <a:gd name="connsiteY26" fmla="*/ 676656 h 899770"/>
                <a:gd name="connsiteX27" fmla="*/ 637484 w 1123945"/>
                <a:gd name="connsiteY27" fmla="*/ 694944 h 899770"/>
                <a:gd name="connsiteX28" fmla="*/ 644800 w 1123945"/>
                <a:gd name="connsiteY28" fmla="*/ 702260 h 899770"/>
                <a:gd name="connsiteX29" fmla="*/ 670403 w 1123945"/>
                <a:gd name="connsiteY29" fmla="*/ 720548 h 899770"/>
                <a:gd name="connsiteX30" fmla="*/ 685033 w 1123945"/>
                <a:gd name="connsiteY30" fmla="*/ 727863 h 899770"/>
                <a:gd name="connsiteX31" fmla="*/ 696006 w 1123945"/>
                <a:gd name="connsiteY31" fmla="*/ 735178 h 899770"/>
                <a:gd name="connsiteX32" fmla="*/ 706979 w 1123945"/>
                <a:gd name="connsiteY32" fmla="*/ 738836 h 899770"/>
                <a:gd name="connsiteX33" fmla="*/ 728924 w 1123945"/>
                <a:gd name="connsiteY33" fmla="*/ 749808 h 899770"/>
                <a:gd name="connsiteX34" fmla="*/ 736240 w 1123945"/>
                <a:gd name="connsiteY34" fmla="*/ 760781 h 899770"/>
                <a:gd name="connsiteX35" fmla="*/ 761843 w 1123945"/>
                <a:gd name="connsiteY35" fmla="*/ 768096 h 899770"/>
                <a:gd name="connsiteX36" fmla="*/ 783788 w 1123945"/>
                <a:gd name="connsiteY36" fmla="*/ 782727 h 899770"/>
                <a:gd name="connsiteX37" fmla="*/ 794761 w 1123945"/>
                <a:gd name="connsiteY37" fmla="*/ 786384 h 899770"/>
                <a:gd name="connsiteX38" fmla="*/ 834995 w 1123945"/>
                <a:gd name="connsiteY38" fmla="*/ 797357 h 899770"/>
                <a:gd name="connsiteX39" fmla="*/ 845968 w 1123945"/>
                <a:gd name="connsiteY39" fmla="*/ 804672 h 899770"/>
                <a:gd name="connsiteX40" fmla="*/ 860598 w 1123945"/>
                <a:gd name="connsiteY40" fmla="*/ 808330 h 899770"/>
                <a:gd name="connsiteX41" fmla="*/ 897174 w 1123945"/>
                <a:gd name="connsiteY41" fmla="*/ 822960 h 899770"/>
                <a:gd name="connsiteX42" fmla="*/ 919120 w 1123945"/>
                <a:gd name="connsiteY42" fmla="*/ 837591 h 899770"/>
                <a:gd name="connsiteX43" fmla="*/ 944723 w 1123945"/>
                <a:gd name="connsiteY43" fmla="*/ 859536 h 899770"/>
                <a:gd name="connsiteX44" fmla="*/ 977641 w 1123945"/>
                <a:gd name="connsiteY44" fmla="*/ 888797 h 899770"/>
                <a:gd name="connsiteX45" fmla="*/ 992272 w 1123945"/>
                <a:gd name="connsiteY45" fmla="*/ 896112 h 899770"/>
                <a:gd name="connsiteX46" fmla="*/ 1010560 w 1123945"/>
                <a:gd name="connsiteY46" fmla="*/ 899770 h 899770"/>
                <a:gd name="connsiteX47" fmla="*/ 1080054 w 1123945"/>
                <a:gd name="connsiteY47" fmla="*/ 896112 h 899770"/>
                <a:gd name="connsiteX48" fmla="*/ 1102000 w 1123945"/>
                <a:gd name="connsiteY48" fmla="*/ 888797 h 899770"/>
                <a:gd name="connsiteX49" fmla="*/ 1112972 w 1123945"/>
                <a:gd name="connsiteY49" fmla="*/ 877824 h 899770"/>
                <a:gd name="connsiteX50" fmla="*/ 1120288 w 1123945"/>
                <a:gd name="connsiteY50" fmla="*/ 837591 h 899770"/>
                <a:gd name="connsiteX51" fmla="*/ 1123945 w 1123945"/>
                <a:gd name="connsiteY51" fmla="*/ 826618 h 899770"/>
                <a:gd name="connsiteX52" fmla="*/ 1120288 w 1123945"/>
                <a:gd name="connsiteY52" fmla="*/ 764439 h 899770"/>
                <a:gd name="connsiteX53" fmla="*/ 1102000 w 1123945"/>
                <a:gd name="connsiteY53" fmla="*/ 731520 h 899770"/>
                <a:gd name="connsiteX54" fmla="*/ 1087369 w 1123945"/>
                <a:gd name="connsiteY54" fmla="*/ 705917 h 899770"/>
                <a:gd name="connsiteX55" fmla="*/ 1076396 w 1123945"/>
                <a:gd name="connsiteY55" fmla="*/ 680314 h 899770"/>
                <a:gd name="connsiteX56" fmla="*/ 1065424 w 1123945"/>
                <a:gd name="connsiteY56" fmla="*/ 654711 h 899770"/>
                <a:gd name="connsiteX57" fmla="*/ 1061766 w 1123945"/>
                <a:gd name="connsiteY57" fmla="*/ 640080 h 899770"/>
                <a:gd name="connsiteX58" fmla="*/ 1054451 w 1123945"/>
                <a:gd name="connsiteY58" fmla="*/ 625450 h 899770"/>
                <a:gd name="connsiteX59" fmla="*/ 1050793 w 1123945"/>
                <a:gd name="connsiteY59" fmla="*/ 614477 h 899770"/>
                <a:gd name="connsiteX60" fmla="*/ 1054451 w 1123945"/>
                <a:gd name="connsiteY60" fmla="*/ 566928 h 899770"/>
                <a:gd name="connsiteX61" fmla="*/ 1058108 w 1123945"/>
                <a:gd name="connsiteY61" fmla="*/ 552298 h 899770"/>
                <a:gd name="connsiteX62" fmla="*/ 1069081 w 1123945"/>
                <a:gd name="connsiteY62" fmla="*/ 526695 h 899770"/>
                <a:gd name="connsiteX63" fmla="*/ 1076396 w 1123945"/>
                <a:gd name="connsiteY63" fmla="*/ 515722 h 899770"/>
                <a:gd name="connsiteX64" fmla="*/ 1065424 w 1123945"/>
                <a:gd name="connsiteY64" fmla="*/ 391364 h 899770"/>
                <a:gd name="connsiteX65" fmla="*/ 1061766 w 1123945"/>
                <a:gd name="connsiteY65" fmla="*/ 373076 h 899770"/>
                <a:gd name="connsiteX66" fmla="*/ 1054451 w 1123945"/>
                <a:gd name="connsiteY66" fmla="*/ 365760 h 899770"/>
                <a:gd name="connsiteX67" fmla="*/ 1039820 w 1123945"/>
                <a:gd name="connsiteY67" fmla="*/ 343815 h 899770"/>
                <a:gd name="connsiteX68" fmla="*/ 1028848 w 1123945"/>
                <a:gd name="connsiteY68" fmla="*/ 340157 h 899770"/>
                <a:gd name="connsiteX69" fmla="*/ 1010560 w 1123945"/>
                <a:gd name="connsiteY69" fmla="*/ 321869 h 899770"/>
                <a:gd name="connsiteX70" fmla="*/ 1003244 w 1123945"/>
                <a:gd name="connsiteY70" fmla="*/ 314554 h 899770"/>
                <a:gd name="connsiteX71" fmla="*/ 992272 w 1123945"/>
                <a:gd name="connsiteY71" fmla="*/ 307239 h 899770"/>
                <a:gd name="connsiteX72" fmla="*/ 984956 w 1123945"/>
                <a:gd name="connsiteY72" fmla="*/ 299924 h 899770"/>
                <a:gd name="connsiteX73" fmla="*/ 963011 w 1123945"/>
                <a:gd name="connsiteY73" fmla="*/ 292608 h 899770"/>
                <a:gd name="connsiteX74" fmla="*/ 952038 w 1123945"/>
                <a:gd name="connsiteY74" fmla="*/ 285293 h 899770"/>
                <a:gd name="connsiteX75" fmla="*/ 824022 w 1123945"/>
                <a:gd name="connsiteY75" fmla="*/ 270663 h 899770"/>
                <a:gd name="connsiteX76" fmla="*/ 747212 w 1123945"/>
                <a:gd name="connsiteY76" fmla="*/ 270663 h 899770"/>
                <a:gd name="connsiteX77" fmla="*/ 728924 w 1123945"/>
                <a:gd name="connsiteY77" fmla="*/ 267005 h 899770"/>
                <a:gd name="connsiteX78" fmla="*/ 725267 w 1123945"/>
                <a:gd name="connsiteY78" fmla="*/ 256032 h 899770"/>
                <a:gd name="connsiteX79" fmla="*/ 717952 w 1123945"/>
                <a:gd name="connsiteY79" fmla="*/ 245060 h 899770"/>
                <a:gd name="connsiteX80" fmla="*/ 710636 w 1123945"/>
                <a:gd name="connsiteY80" fmla="*/ 208484 h 899770"/>
                <a:gd name="connsiteX81" fmla="*/ 703321 w 1123945"/>
                <a:gd name="connsiteY81" fmla="*/ 201168 h 899770"/>
                <a:gd name="connsiteX82" fmla="*/ 688691 w 1123945"/>
                <a:gd name="connsiteY82" fmla="*/ 182880 h 899770"/>
                <a:gd name="connsiteX83" fmla="*/ 670403 w 1123945"/>
                <a:gd name="connsiteY83" fmla="*/ 164592 h 899770"/>
                <a:gd name="connsiteX84" fmla="*/ 659430 w 1123945"/>
                <a:gd name="connsiteY84" fmla="*/ 153620 h 899770"/>
                <a:gd name="connsiteX85" fmla="*/ 633827 w 1123945"/>
                <a:gd name="connsiteY85" fmla="*/ 146304 h 899770"/>
                <a:gd name="connsiteX86" fmla="*/ 600908 w 1123945"/>
                <a:gd name="connsiteY86" fmla="*/ 131674 h 899770"/>
                <a:gd name="connsiteX87" fmla="*/ 557017 w 1123945"/>
                <a:gd name="connsiteY87" fmla="*/ 128016 h 899770"/>
                <a:gd name="connsiteX88" fmla="*/ 531414 w 1123945"/>
                <a:gd name="connsiteY88" fmla="*/ 120701 h 899770"/>
                <a:gd name="connsiteX89" fmla="*/ 520441 w 1123945"/>
                <a:gd name="connsiteY89" fmla="*/ 117044 h 899770"/>
                <a:gd name="connsiteX90" fmla="*/ 505811 w 1123945"/>
                <a:gd name="connsiteY90" fmla="*/ 113386 h 899770"/>
                <a:gd name="connsiteX91" fmla="*/ 494838 w 1123945"/>
                <a:gd name="connsiteY91" fmla="*/ 109728 h 899770"/>
                <a:gd name="connsiteX92" fmla="*/ 370480 w 1123945"/>
                <a:gd name="connsiteY92" fmla="*/ 106071 h 899770"/>
                <a:gd name="connsiteX93" fmla="*/ 348534 w 1123945"/>
                <a:gd name="connsiteY93" fmla="*/ 95098 h 899770"/>
                <a:gd name="connsiteX94" fmla="*/ 322931 w 1123945"/>
                <a:gd name="connsiteY94" fmla="*/ 87783 h 899770"/>
                <a:gd name="connsiteX95" fmla="*/ 311958 w 1123945"/>
                <a:gd name="connsiteY95" fmla="*/ 76810 h 899770"/>
                <a:gd name="connsiteX96" fmla="*/ 297328 w 1123945"/>
                <a:gd name="connsiteY96" fmla="*/ 73152 h 899770"/>
                <a:gd name="connsiteX97" fmla="*/ 286355 w 1123945"/>
                <a:gd name="connsiteY97" fmla="*/ 69495 h 899770"/>
                <a:gd name="connsiteX98" fmla="*/ 275382 w 1123945"/>
                <a:gd name="connsiteY98" fmla="*/ 62180 h 899770"/>
                <a:gd name="connsiteX99" fmla="*/ 253436 w 1123945"/>
                <a:gd name="connsiteY99" fmla="*/ 54864 h 899770"/>
                <a:gd name="connsiteX100" fmla="*/ 242464 w 1123945"/>
                <a:gd name="connsiteY100" fmla="*/ 51207 h 899770"/>
                <a:gd name="connsiteX101" fmla="*/ 231491 w 1123945"/>
                <a:gd name="connsiteY101" fmla="*/ 47549 h 899770"/>
                <a:gd name="connsiteX102" fmla="*/ 216860 w 1123945"/>
                <a:gd name="connsiteY102" fmla="*/ 43892 h 899770"/>
                <a:gd name="connsiteX103" fmla="*/ 205888 w 1123945"/>
                <a:gd name="connsiteY103" fmla="*/ 36576 h 899770"/>
                <a:gd name="connsiteX104" fmla="*/ 183942 w 1123945"/>
                <a:gd name="connsiteY104" fmla="*/ 29261 h 899770"/>
                <a:gd name="connsiteX105" fmla="*/ 158339 w 1123945"/>
                <a:gd name="connsiteY105" fmla="*/ 14631 h 899770"/>
                <a:gd name="connsiteX106" fmla="*/ 147366 w 1123945"/>
                <a:gd name="connsiteY106" fmla="*/ 7316 h 899770"/>
                <a:gd name="connsiteX107" fmla="*/ 125420 w 1123945"/>
                <a:gd name="connsiteY107" fmla="*/ 0 h 899770"/>
                <a:gd name="connsiteX108" fmla="*/ 88844 w 1123945"/>
                <a:gd name="connsiteY108" fmla="*/ 3658 h 899770"/>
                <a:gd name="connsiteX109" fmla="*/ 77872 w 1123945"/>
                <a:gd name="connsiteY109" fmla="*/ 10973 h 899770"/>
                <a:gd name="connsiteX110" fmla="*/ 63241 w 1123945"/>
                <a:gd name="connsiteY110" fmla="*/ 14631 h 899770"/>
                <a:gd name="connsiteX111" fmla="*/ 52268 w 1123945"/>
                <a:gd name="connsiteY111" fmla="*/ 21946 h 899770"/>
                <a:gd name="connsiteX112" fmla="*/ 33980 w 1123945"/>
                <a:gd name="connsiteY112" fmla="*/ 25604 h 899770"/>
                <a:gd name="connsiteX113" fmla="*/ 23008 w 1123945"/>
                <a:gd name="connsiteY113" fmla="*/ 36576 h 899770"/>
                <a:gd name="connsiteX114" fmla="*/ 19350 w 1123945"/>
                <a:gd name="connsiteY114" fmla="*/ 51207 h 899770"/>
                <a:gd name="connsiteX115" fmla="*/ 15692 w 1123945"/>
                <a:gd name="connsiteY115" fmla="*/ 62180 h 899770"/>
                <a:gd name="connsiteX116" fmla="*/ 33980 w 1123945"/>
                <a:gd name="connsiteY116" fmla="*/ 102413 h 899770"/>
                <a:gd name="connsiteX117" fmla="*/ 37638 w 1123945"/>
                <a:gd name="connsiteY117" fmla="*/ 113386 h 899770"/>
                <a:gd name="connsiteX118" fmla="*/ 30323 w 1123945"/>
                <a:gd name="connsiteY118" fmla="*/ 157277 h 899770"/>
                <a:gd name="connsiteX119" fmla="*/ 15692 w 1123945"/>
                <a:gd name="connsiteY119" fmla="*/ 179223 h 899770"/>
                <a:gd name="connsiteX120" fmla="*/ 8377 w 1123945"/>
                <a:gd name="connsiteY120" fmla="*/ 190196 h 899770"/>
                <a:gd name="connsiteX121" fmla="*/ 4720 w 1123945"/>
                <a:gd name="connsiteY121" fmla="*/ 201168 h 899770"/>
                <a:gd name="connsiteX122" fmla="*/ 4720 w 1123945"/>
                <a:gd name="connsiteY122" fmla="*/ 270663 h 899770"/>
                <a:gd name="connsiteX123" fmla="*/ 15692 w 1123945"/>
                <a:gd name="connsiteY123" fmla="*/ 285293 h 899770"/>
                <a:gd name="connsiteX124" fmla="*/ 23008 w 1123945"/>
                <a:gd name="connsiteY124" fmla="*/ 296266 h 899770"/>
                <a:gd name="connsiteX125" fmla="*/ 37638 w 1123945"/>
                <a:gd name="connsiteY125" fmla="*/ 321869 h 899770"/>
                <a:gd name="connsiteX126" fmla="*/ 48611 w 1123945"/>
                <a:gd name="connsiteY126" fmla="*/ 347472 h 899770"/>
                <a:gd name="connsiteX127" fmla="*/ 59584 w 1123945"/>
                <a:gd name="connsiteY127" fmla="*/ 354788 h 899770"/>
                <a:gd name="connsiteX128" fmla="*/ 77872 w 1123945"/>
                <a:gd name="connsiteY128" fmla="*/ 373076 h 899770"/>
                <a:gd name="connsiteX129" fmla="*/ 92502 w 1123945"/>
                <a:gd name="connsiteY129" fmla="*/ 391364 h 899770"/>
                <a:gd name="connsiteX130" fmla="*/ 114448 w 1123945"/>
                <a:gd name="connsiteY130" fmla="*/ 398679 h 899770"/>
                <a:gd name="connsiteX131" fmla="*/ 114448 w 1123945"/>
                <a:gd name="connsiteY131" fmla="*/ 409652 h 899770"/>
                <a:gd name="connsiteX0" fmla="*/ 114448 w 1123945"/>
                <a:gd name="connsiteY0" fmla="*/ 409652 h 899770"/>
                <a:gd name="connsiteX1" fmla="*/ 114448 w 1123945"/>
                <a:gd name="connsiteY1" fmla="*/ 409652 h 899770"/>
                <a:gd name="connsiteX2" fmla="*/ 151024 w 1123945"/>
                <a:gd name="connsiteY2" fmla="*/ 435255 h 899770"/>
                <a:gd name="connsiteX3" fmla="*/ 172969 w 1123945"/>
                <a:gd name="connsiteY3" fmla="*/ 442570 h 899770"/>
                <a:gd name="connsiteX4" fmla="*/ 121762 w 1123945"/>
                <a:gd name="connsiteY4" fmla="*/ 446228 h 899770"/>
                <a:gd name="connsiteX5" fmla="*/ 132735 w 1123945"/>
                <a:gd name="connsiteY5" fmla="*/ 464516 h 899770"/>
                <a:gd name="connsiteX6" fmla="*/ 129077 w 1123945"/>
                <a:gd name="connsiteY6" fmla="*/ 493776 h 899770"/>
                <a:gd name="connsiteX7" fmla="*/ 202230 w 1123945"/>
                <a:gd name="connsiteY7" fmla="*/ 519379 h 899770"/>
                <a:gd name="connsiteX8" fmla="*/ 249778 w 1123945"/>
                <a:gd name="connsiteY8" fmla="*/ 548640 h 899770"/>
                <a:gd name="connsiteX9" fmla="*/ 297328 w 1123945"/>
                <a:gd name="connsiteY9" fmla="*/ 515722 h 899770"/>
                <a:gd name="connsiteX10" fmla="*/ 319273 w 1123945"/>
                <a:gd name="connsiteY10" fmla="*/ 530352 h 899770"/>
                <a:gd name="connsiteX11" fmla="*/ 326588 w 1123945"/>
                <a:gd name="connsiteY11" fmla="*/ 537668 h 899770"/>
                <a:gd name="connsiteX12" fmla="*/ 348534 w 1123945"/>
                <a:gd name="connsiteY12" fmla="*/ 544983 h 899770"/>
                <a:gd name="connsiteX13" fmla="*/ 392425 w 1123945"/>
                <a:gd name="connsiteY13" fmla="*/ 552298 h 899770"/>
                <a:gd name="connsiteX14" fmla="*/ 407056 w 1123945"/>
                <a:gd name="connsiteY14" fmla="*/ 559613 h 899770"/>
                <a:gd name="connsiteX15" fmla="*/ 432659 w 1123945"/>
                <a:gd name="connsiteY15" fmla="*/ 574244 h 899770"/>
                <a:gd name="connsiteX16" fmla="*/ 447289 w 1123945"/>
                <a:gd name="connsiteY16" fmla="*/ 585216 h 899770"/>
                <a:gd name="connsiteX17" fmla="*/ 458262 w 1123945"/>
                <a:gd name="connsiteY17" fmla="*/ 588874 h 899770"/>
                <a:gd name="connsiteX18" fmla="*/ 472892 w 1123945"/>
                <a:gd name="connsiteY18" fmla="*/ 599847 h 899770"/>
                <a:gd name="connsiteX19" fmla="*/ 480208 w 1123945"/>
                <a:gd name="connsiteY19" fmla="*/ 607162 h 899770"/>
                <a:gd name="connsiteX20" fmla="*/ 491180 w 1123945"/>
                <a:gd name="connsiteY20" fmla="*/ 610820 h 899770"/>
                <a:gd name="connsiteX21" fmla="*/ 513126 w 1123945"/>
                <a:gd name="connsiteY21" fmla="*/ 621792 h 899770"/>
                <a:gd name="connsiteX22" fmla="*/ 546044 w 1123945"/>
                <a:gd name="connsiteY22" fmla="*/ 640080 h 899770"/>
                <a:gd name="connsiteX23" fmla="*/ 564332 w 1123945"/>
                <a:gd name="connsiteY23" fmla="*/ 643738 h 899770"/>
                <a:gd name="connsiteX24" fmla="*/ 586278 w 1123945"/>
                <a:gd name="connsiteY24" fmla="*/ 651053 h 899770"/>
                <a:gd name="connsiteX25" fmla="*/ 597251 w 1123945"/>
                <a:gd name="connsiteY25" fmla="*/ 654711 h 899770"/>
                <a:gd name="connsiteX26" fmla="*/ 619196 w 1123945"/>
                <a:gd name="connsiteY26" fmla="*/ 676656 h 899770"/>
                <a:gd name="connsiteX27" fmla="*/ 637484 w 1123945"/>
                <a:gd name="connsiteY27" fmla="*/ 694944 h 899770"/>
                <a:gd name="connsiteX28" fmla="*/ 644800 w 1123945"/>
                <a:gd name="connsiteY28" fmla="*/ 702260 h 899770"/>
                <a:gd name="connsiteX29" fmla="*/ 670403 w 1123945"/>
                <a:gd name="connsiteY29" fmla="*/ 720548 h 899770"/>
                <a:gd name="connsiteX30" fmla="*/ 685033 w 1123945"/>
                <a:gd name="connsiteY30" fmla="*/ 727863 h 899770"/>
                <a:gd name="connsiteX31" fmla="*/ 696006 w 1123945"/>
                <a:gd name="connsiteY31" fmla="*/ 735178 h 899770"/>
                <a:gd name="connsiteX32" fmla="*/ 706979 w 1123945"/>
                <a:gd name="connsiteY32" fmla="*/ 738836 h 899770"/>
                <a:gd name="connsiteX33" fmla="*/ 728924 w 1123945"/>
                <a:gd name="connsiteY33" fmla="*/ 749808 h 899770"/>
                <a:gd name="connsiteX34" fmla="*/ 736240 w 1123945"/>
                <a:gd name="connsiteY34" fmla="*/ 760781 h 899770"/>
                <a:gd name="connsiteX35" fmla="*/ 761843 w 1123945"/>
                <a:gd name="connsiteY35" fmla="*/ 768096 h 899770"/>
                <a:gd name="connsiteX36" fmla="*/ 783788 w 1123945"/>
                <a:gd name="connsiteY36" fmla="*/ 782727 h 899770"/>
                <a:gd name="connsiteX37" fmla="*/ 794761 w 1123945"/>
                <a:gd name="connsiteY37" fmla="*/ 786384 h 899770"/>
                <a:gd name="connsiteX38" fmla="*/ 834995 w 1123945"/>
                <a:gd name="connsiteY38" fmla="*/ 797357 h 899770"/>
                <a:gd name="connsiteX39" fmla="*/ 845968 w 1123945"/>
                <a:gd name="connsiteY39" fmla="*/ 804672 h 899770"/>
                <a:gd name="connsiteX40" fmla="*/ 860598 w 1123945"/>
                <a:gd name="connsiteY40" fmla="*/ 808330 h 899770"/>
                <a:gd name="connsiteX41" fmla="*/ 897174 w 1123945"/>
                <a:gd name="connsiteY41" fmla="*/ 822960 h 899770"/>
                <a:gd name="connsiteX42" fmla="*/ 919120 w 1123945"/>
                <a:gd name="connsiteY42" fmla="*/ 837591 h 899770"/>
                <a:gd name="connsiteX43" fmla="*/ 944723 w 1123945"/>
                <a:gd name="connsiteY43" fmla="*/ 859536 h 899770"/>
                <a:gd name="connsiteX44" fmla="*/ 977641 w 1123945"/>
                <a:gd name="connsiteY44" fmla="*/ 888797 h 899770"/>
                <a:gd name="connsiteX45" fmla="*/ 992272 w 1123945"/>
                <a:gd name="connsiteY45" fmla="*/ 896112 h 899770"/>
                <a:gd name="connsiteX46" fmla="*/ 1010560 w 1123945"/>
                <a:gd name="connsiteY46" fmla="*/ 899770 h 899770"/>
                <a:gd name="connsiteX47" fmla="*/ 1080054 w 1123945"/>
                <a:gd name="connsiteY47" fmla="*/ 896112 h 899770"/>
                <a:gd name="connsiteX48" fmla="*/ 1102000 w 1123945"/>
                <a:gd name="connsiteY48" fmla="*/ 888797 h 899770"/>
                <a:gd name="connsiteX49" fmla="*/ 1112972 w 1123945"/>
                <a:gd name="connsiteY49" fmla="*/ 877824 h 899770"/>
                <a:gd name="connsiteX50" fmla="*/ 1120288 w 1123945"/>
                <a:gd name="connsiteY50" fmla="*/ 837591 h 899770"/>
                <a:gd name="connsiteX51" fmla="*/ 1123945 w 1123945"/>
                <a:gd name="connsiteY51" fmla="*/ 826618 h 899770"/>
                <a:gd name="connsiteX52" fmla="*/ 1120288 w 1123945"/>
                <a:gd name="connsiteY52" fmla="*/ 764439 h 899770"/>
                <a:gd name="connsiteX53" fmla="*/ 1102000 w 1123945"/>
                <a:gd name="connsiteY53" fmla="*/ 731520 h 899770"/>
                <a:gd name="connsiteX54" fmla="*/ 1087369 w 1123945"/>
                <a:gd name="connsiteY54" fmla="*/ 705917 h 899770"/>
                <a:gd name="connsiteX55" fmla="*/ 1076396 w 1123945"/>
                <a:gd name="connsiteY55" fmla="*/ 680314 h 899770"/>
                <a:gd name="connsiteX56" fmla="*/ 1065424 w 1123945"/>
                <a:gd name="connsiteY56" fmla="*/ 654711 h 899770"/>
                <a:gd name="connsiteX57" fmla="*/ 1061766 w 1123945"/>
                <a:gd name="connsiteY57" fmla="*/ 640080 h 899770"/>
                <a:gd name="connsiteX58" fmla="*/ 1054451 w 1123945"/>
                <a:gd name="connsiteY58" fmla="*/ 625450 h 899770"/>
                <a:gd name="connsiteX59" fmla="*/ 1050793 w 1123945"/>
                <a:gd name="connsiteY59" fmla="*/ 614477 h 899770"/>
                <a:gd name="connsiteX60" fmla="*/ 1054451 w 1123945"/>
                <a:gd name="connsiteY60" fmla="*/ 566928 h 899770"/>
                <a:gd name="connsiteX61" fmla="*/ 1058108 w 1123945"/>
                <a:gd name="connsiteY61" fmla="*/ 552298 h 899770"/>
                <a:gd name="connsiteX62" fmla="*/ 1069081 w 1123945"/>
                <a:gd name="connsiteY62" fmla="*/ 526695 h 899770"/>
                <a:gd name="connsiteX63" fmla="*/ 1076396 w 1123945"/>
                <a:gd name="connsiteY63" fmla="*/ 515722 h 899770"/>
                <a:gd name="connsiteX64" fmla="*/ 1065424 w 1123945"/>
                <a:gd name="connsiteY64" fmla="*/ 391364 h 899770"/>
                <a:gd name="connsiteX65" fmla="*/ 1061766 w 1123945"/>
                <a:gd name="connsiteY65" fmla="*/ 373076 h 899770"/>
                <a:gd name="connsiteX66" fmla="*/ 1054451 w 1123945"/>
                <a:gd name="connsiteY66" fmla="*/ 365760 h 899770"/>
                <a:gd name="connsiteX67" fmla="*/ 1039820 w 1123945"/>
                <a:gd name="connsiteY67" fmla="*/ 343815 h 899770"/>
                <a:gd name="connsiteX68" fmla="*/ 1028848 w 1123945"/>
                <a:gd name="connsiteY68" fmla="*/ 340157 h 899770"/>
                <a:gd name="connsiteX69" fmla="*/ 1010560 w 1123945"/>
                <a:gd name="connsiteY69" fmla="*/ 321869 h 899770"/>
                <a:gd name="connsiteX70" fmla="*/ 1003244 w 1123945"/>
                <a:gd name="connsiteY70" fmla="*/ 314554 h 899770"/>
                <a:gd name="connsiteX71" fmla="*/ 992272 w 1123945"/>
                <a:gd name="connsiteY71" fmla="*/ 307239 h 899770"/>
                <a:gd name="connsiteX72" fmla="*/ 984956 w 1123945"/>
                <a:gd name="connsiteY72" fmla="*/ 299924 h 899770"/>
                <a:gd name="connsiteX73" fmla="*/ 963011 w 1123945"/>
                <a:gd name="connsiteY73" fmla="*/ 292608 h 899770"/>
                <a:gd name="connsiteX74" fmla="*/ 952038 w 1123945"/>
                <a:gd name="connsiteY74" fmla="*/ 285293 h 899770"/>
                <a:gd name="connsiteX75" fmla="*/ 824022 w 1123945"/>
                <a:gd name="connsiteY75" fmla="*/ 270663 h 899770"/>
                <a:gd name="connsiteX76" fmla="*/ 747212 w 1123945"/>
                <a:gd name="connsiteY76" fmla="*/ 270663 h 899770"/>
                <a:gd name="connsiteX77" fmla="*/ 728924 w 1123945"/>
                <a:gd name="connsiteY77" fmla="*/ 267005 h 899770"/>
                <a:gd name="connsiteX78" fmla="*/ 725267 w 1123945"/>
                <a:gd name="connsiteY78" fmla="*/ 256032 h 899770"/>
                <a:gd name="connsiteX79" fmla="*/ 717952 w 1123945"/>
                <a:gd name="connsiteY79" fmla="*/ 245060 h 899770"/>
                <a:gd name="connsiteX80" fmla="*/ 710636 w 1123945"/>
                <a:gd name="connsiteY80" fmla="*/ 208484 h 899770"/>
                <a:gd name="connsiteX81" fmla="*/ 703321 w 1123945"/>
                <a:gd name="connsiteY81" fmla="*/ 201168 h 899770"/>
                <a:gd name="connsiteX82" fmla="*/ 688691 w 1123945"/>
                <a:gd name="connsiteY82" fmla="*/ 182880 h 899770"/>
                <a:gd name="connsiteX83" fmla="*/ 670403 w 1123945"/>
                <a:gd name="connsiteY83" fmla="*/ 164592 h 899770"/>
                <a:gd name="connsiteX84" fmla="*/ 659430 w 1123945"/>
                <a:gd name="connsiteY84" fmla="*/ 153620 h 899770"/>
                <a:gd name="connsiteX85" fmla="*/ 633827 w 1123945"/>
                <a:gd name="connsiteY85" fmla="*/ 146304 h 899770"/>
                <a:gd name="connsiteX86" fmla="*/ 600908 w 1123945"/>
                <a:gd name="connsiteY86" fmla="*/ 131674 h 899770"/>
                <a:gd name="connsiteX87" fmla="*/ 557017 w 1123945"/>
                <a:gd name="connsiteY87" fmla="*/ 128016 h 899770"/>
                <a:gd name="connsiteX88" fmla="*/ 531414 w 1123945"/>
                <a:gd name="connsiteY88" fmla="*/ 120701 h 899770"/>
                <a:gd name="connsiteX89" fmla="*/ 520441 w 1123945"/>
                <a:gd name="connsiteY89" fmla="*/ 117044 h 899770"/>
                <a:gd name="connsiteX90" fmla="*/ 505811 w 1123945"/>
                <a:gd name="connsiteY90" fmla="*/ 113386 h 899770"/>
                <a:gd name="connsiteX91" fmla="*/ 494838 w 1123945"/>
                <a:gd name="connsiteY91" fmla="*/ 109728 h 899770"/>
                <a:gd name="connsiteX92" fmla="*/ 370480 w 1123945"/>
                <a:gd name="connsiteY92" fmla="*/ 106071 h 899770"/>
                <a:gd name="connsiteX93" fmla="*/ 348534 w 1123945"/>
                <a:gd name="connsiteY93" fmla="*/ 95098 h 899770"/>
                <a:gd name="connsiteX94" fmla="*/ 322931 w 1123945"/>
                <a:gd name="connsiteY94" fmla="*/ 87783 h 899770"/>
                <a:gd name="connsiteX95" fmla="*/ 311958 w 1123945"/>
                <a:gd name="connsiteY95" fmla="*/ 76810 h 899770"/>
                <a:gd name="connsiteX96" fmla="*/ 297328 w 1123945"/>
                <a:gd name="connsiteY96" fmla="*/ 73152 h 899770"/>
                <a:gd name="connsiteX97" fmla="*/ 286355 w 1123945"/>
                <a:gd name="connsiteY97" fmla="*/ 69495 h 899770"/>
                <a:gd name="connsiteX98" fmla="*/ 275382 w 1123945"/>
                <a:gd name="connsiteY98" fmla="*/ 62180 h 899770"/>
                <a:gd name="connsiteX99" fmla="*/ 253436 w 1123945"/>
                <a:gd name="connsiteY99" fmla="*/ 54864 h 899770"/>
                <a:gd name="connsiteX100" fmla="*/ 242464 w 1123945"/>
                <a:gd name="connsiteY100" fmla="*/ 51207 h 899770"/>
                <a:gd name="connsiteX101" fmla="*/ 231491 w 1123945"/>
                <a:gd name="connsiteY101" fmla="*/ 47549 h 899770"/>
                <a:gd name="connsiteX102" fmla="*/ 216860 w 1123945"/>
                <a:gd name="connsiteY102" fmla="*/ 43892 h 899770"/>
                <a:gd name="connsiteX103" fmla="*/ 205888 w 1123945"/>
                <a:gd name="connsiteY103" fmla="*/ 36576 h 899770"/>
                <a:gd name="connsiteX104" fmla="*/ 183942 w 1123945"/>
                <a:gd name="connsiteY104" fmla="*/ 29261 h 899770"/>
                <a:gd name="connsiteX105" fmla="*/ 158339 w 1123945"/>
                <a:gd name="connsiteY105" fmla="*/ 14631 h 899770"/>
                <a:gd name="connsiteX106" fmla="*/ 147366 w 1123945"/>
                <a:gd name="connsiteY106" fmla="*/ 7316 h 899770"/>
                <a:gd name="connsiteX107" fmla="*/ 125420 w 1123945"/>
                <a:gd name="connsiteY107" fmla="*/ 0 h 899770"/>
                <a:gd name="connsiteX108" fmla="*/ 88844 w 1123945"/>
                <a:gd name="connsiteY108" fmla="*/ 3658 h 899770"/>
                <a:gd name="connsiteX109" fmla="*/ 77872 w 1123945"/>
                <a:gd name="connsiteY109" fmla="*/ 10973 h 899770"/>
                <a:gd name="connsiteX110" fmla="*/ 63241 w 1123945"/>
                <a:gd name="connsiteY110" fmla="*/ 14631 h 899770"/>
                <a:gd name="connsiteX111" fmla="*/ 52268 w 1123945"/>
                <a:gd name="connsiteY111" fmla="*/ 21946 h 899770"/>
                <a:gd name="connsiteX112" fmla="*/ 33980 w 1123945"/>
                <a:gd name="connsiteY112" fmla="*/ 25604 h 899770"/>
                <a:gd name="connsiteX113" fmla="*/ 23008 w 1123945"/>
                <a:gd name="connsiteY113" fmla="*/ 36576 h 899770"/>
                <a:gd name="connsiteX114" fmla="*/ 19350 w 1123945"/>
                <a:gd name="connsiteY114" fmla="*/ 51207 h 899770"/>
                <a:gd name="connsiteX115" fmla="*/ 15692 w 1123945"/>
                <a:gd name="connsiteY115" fmla="*/ 62180 h 899770"/>
                <a:gd name="connsiteX116" fmla="*/ 33980 w 1123945"/>
                <a:gd name="connsiteY116" fmla="*/ 102413 h 899770"/>
                <a:gd name="connsiteX117" fmla="*/ 37638 w 1123945"/>
                <a:gd name="connsiteY117" fmla="*/ 113386 h 899770"/>
                <a:gd name="connsiteX118" fmla="*/ 30323 w 1123945"/>
                <a:gd name="connsiteY118" fmla="*/ 157277 h 899770"/>
                <a:gd name="connsiteX119" fmla="*/ 15692 w 1123945"/>
                <a:gd name="connsiteY119" fmla="*/ 179223 h 899770"/>
                <a:gd name="connsiteX120" fmla="*/ 8377 w 1123945"/>
                <a:gd name="connsiteY120" fmla="*/ 190196 h 899770"/>
                <a:gd name="connsiteX121" fmla="*/ 4720 w 1123945"/>
                <a:gd name="connsiteY121" fmla="*/ 201168 h 899770"/>
                <a:gd name="connsiteX122" fmla="*/ 4720 w 1123945"/>
                <a:gd name="connsiteY122" fmla="*/ 270663 h 899770"/>
                <a:gd name="connsiteX123" fmla="*/ 15692 w 1123945"/>
                <a:gd name="connsiteY123" fmla="*/ 285293 h 899770"/>
                <a:gd name="connsiteX124" fmla="*/ 23008 w 1123945"/>
                <a:gd name="connsiteY124" fmla="*/ 296266 h 899770"/>
                <a:gd name="connsiteX125" fmla="*/ 37638 w 1123945"/>
                <a:gd name="connsiteY125" fmla="*/ 321869 h 899770"/>
                <a:gd name="connsiteX126" fmla="*/ 48611 w 1123945"/>
                <a:gd name="connsiteY126" fmla="*/ 347472 h 899770"/>
                <a:gd name="connsiteX127" fmla="*/ 59584 w 1123945"/>
                <a:gd name="connsiteY127" fmla="*/ 354788 h 899770"/>
                <a:gd name="connsiteX128" fmla="*/ 77872 w 1123945"/>
                <a:gd name="connsiteY128" fmla="*/ 373076 h 899770"/>
                <a:gd name="connsiteX129" fmla="*/ 92502 w 1123945"/>
                <a:gd name="connsiteY129" fmla="*/ 391364 h 899770"/>
                <a:gd name="connsiteX130" fmla="*/ 114448 w 1123945"/>
                <a:gd name="connsiteY130" fmla="*/ 398679 h 899770"/>
                <a:gd name="connsiteX131" fmla="*/ 114448 w 1123945"/>
                <a:gd name="connsiteY131" fmla="*/ 409652 h 899770"/>
                <a:gd name="connsiteX0" fmla="*/ 114448 w 1123945"/>
                <a:gd name="connsiteY0" fmla="*/ 409652 h 899770"/>
                <a:gd name="connsiteX1" fmla="*/ 114448 w 1123945"/>
                <a:gd name="connsiteY1" fmla="*/ 409652 h 899770"/>
                <a:gd name="connsiteX2" fmla="*/ 151024 w 1123945"/>
                <a:gd name="connsiteY2" fmla="*/ 435255 h 899770"/>
                <a:gd name="connsiteX3" fmla="*/ 136393 w 1123945"/>
                <a:gd name="connsiteY3" fmla="*/ 442570 h 899770"/>
                <a:gd name="connsiteX4" fmla="*/ 121762 w 1123945"/>
                <a:gd name="connsiteY4" fmla="*/ 446228 h 899770"/>
                <a:gd name="connsiteX5" fmla="*/ 132735 w 1123945"/>
                <a:gd name="connsiteY5" fmla="*/ 464516 h 899770"/>
                <a:gd name="connsiteX6" fmla="*/ 129077 w 1123945"/>
                <a:gd name="connsiteY6" fmla="*/ 493776 h 899770"/>
                <a:gd name="connsiteX7" fmla="*/ 202230 w 1123945"/>
                <a:gd name="connsiteY7" fmla="*/ 519379 h 899770"/>
                <a:gd name="connsiteX8" fmla="*/ 249778 w 1123945"/>
                <a:gd name="connsiteY8" fmla="*/ 548640 h 899770"/>
                <a:gd name="connsiteX9" fmla="*/ 297328 w 1123945"/>
                <a:gd name="connsiteY9" fmla="*/ 515722 h 899770"/>
                <a:gd name="connsiteX10" fmla="*/ 319273 w 1123945"/>
                <a:gd name="connsiteY10" fmla="*/ 530352 h 899770"/>
                <a:gd name="connsiteX11" fmla="*/ 326588 w 1123945"/>
                <a:gd name="connsiteY11" fmla="*/ 537668 h 899770"/>
                <a:gd name="connsiteX12" fmla="*/ 348534 w 1123945"/>
                <a:gd name="connsiteY12" fmla="*/ 544983 h 899770"/>
                <a:gd name="connsiteX13" fmla="*/ 392425 w 1123945"/>
                <a:gd name="connsiteY13" fmla="*/ 552298 h 899770"/>
                <a:gd name="connsiteX14" fmla="*/ 407056 w 1123945"/>
                <a:gd name="connsiteY14" fmla="*/ 559613 h 899770"/>
                <a:gd name="connsiteX15" fmla="*/ 432659 w 1123945"/>
                <a:gd name="connsiteY15" fmla="*/ 574244 h 899770"/>
                <a:gd name="connsiteX16" fmla="*/ 447289 w 1123945"/>
                <a:gd name="connsiteY16" fmla="*/ 585216 h 899770"/>
                <a:gd name="connsiteX17" fmla="*/ 458262 w 1123945"/>
                <a:gd name="connsiteY17" fmla="*/ 588874 h 899770"/>
                <a:gd name="connsiteX18" fmla="*/ 472892 w 1123945"/>
                <a:gd name="connsiteY18" fmla="*/ 599847 h 899770"/>
                <a:gd name="connsiteX19" fmla="*/ 480208 w 1123945"/>
                <a:gd name="connsiteY19" fmla="*/ 607162 h 899770"/>
                <a:gd name="connsiteX20" fmla="*/ 491180 w 1123945"/>
                <a:gd name="connsiteY20" fmla="*/ 610820 h 899770"/>
                <a:gd name="connsiteX21" fmla="*/ 513126 w 1123945"/>
                <a:gd name="connsiteY21" fmla="*/ 621792 h 899770"/>
                <a:gd name="connsiteX22" fmla="*/ 546044 w 1123945"/>
                <a:gd name="connsiteY22" fmla="*/ 640080 h 899770"/>
                <a:gd name="connsiteX23" fmla="*/ 564332 w 1123945"/>
                <a:gd name="connsiteY23" fmla="*/ 643738 h 899770"/>
                <a:gd name="connsiteX24" fmla="*/ 586278 w 1123945"/>
                <a:gd name="connsiteY24" fmla="*/ 651053 h 899770"/>
                <a:gd name="connsiteX25" fmla="*/ 597251 w 1123945"/>
                <a:gd name="connsiteY25" fmla="*/ 654711 h 899770"/>
                <a:gd name="connsiteX26" fmla="*/ 619196 w 1123945"/>
                <a:gd name="connsiteY26" fmla="*/ 676656 h 899770"/>
                <a:gd name="connsiteX27" fmla="*/ 637484 w 1123945"/>
                <a:gd name="connsiteY27" fmla="*/ 694944 h 899770"/>
                <a:gd name="connsiteX28" fmla="*/ 644800 w 1123945"/>
                <a:gd name="connsiteY28" fmla="*/ 702260 h 899770"/>
                <a:gd name="connsiteX29" fmla="*/ 670403 w 1123945"/>
                <a:gd name="connsiteY29" fmla="*/ 720548 h 899770"/>
                <a:gd name="connsiteX30" fmla="*/ 685033 w 1123945"/>
                <a:gd name="connsiteY30" fmla="*/ 727863 h 899770"/>
                <a:gd name="connsiteX31" fmla="*/ 696006 w 1123945"/>
                <a:gd name="connsiteY31" fmla="*/ 735178 h 899770"/>
                <a:gd name="connsiteX32" fmla="*/ 706979 w 1123945"/>
                <a:gd name="connsiteY32" fmla="*/ 738836 h 899770"/>
                <a:gd name="connsiteX33" fmla="*/ 728924 w 1123945"/>
                <a:gd name="connsiteY33" fmla="*/ 749808 h 899770"/>
                <a:gd name="connsiteX34" fmla="*/ 736240 w 1123945"/>
                <a:gd name="connsiteY34" fmla="*/ 760781 h 899770"/>
                <a:gd name="connsiteX35" fmla="*/ 761843 w 1123945"/>
                <a:gd name="connsiteY35" fmla="*/ 768096 h 899770"/>
                <a:gd name="connsiteX36" fmla="*/ 783788 w 1123945"/>
                <a:gd name="connsiteY36" fmla="*/ 782727 h 899770"/>
                <a:gd name="connsiteX37" fmla="*/ 794761 w 1123945"/>
                <a:gd name="connsiteY37" fmla="*/ 786384 h 899770"/>
                <a:gd name="connsiteX38" fmla="*/ 834995 w 1123945"/>
                <a:gd name="connsiteY38" fmla="*/ 797357 h 899770"/>
                <a:gd name="connsiteX39" fmla="*/ 845968 w 1123945"/>
                <a:gd name="connsiteY39" fmla="*/ 804672 h 899770"/>
                <a:gd name="connsiteX40" fmla="*/ 860598 w 1123945"/>
                <a:gd name="connsiteY40" fmla="*/ 808330 h 899770"/>
                <a:gd name="connsiteX41" fmla="*/ 897174 w 1123945"/>
                <a:gd name="connsiteY41" fmla="*/ 822960 h 899770"/>
                <a:gd name="connsiteX42" fmla="*/ 919120 w 1123945"/>
                <a:gd name="connsiteY42" fmla="*/ 837591 h 899770"/>
                <a:gd name="connsiteX43" fmla="*/ 944723 w 1123945"/>
                <a:gd name="connsiteY43" fmla="*/ 859536 h 899770"/>
                <a:gd name="connsiteX44" fmla="*/ 977641 w 1123945"/>
                <a:gd name="connsiteY44" fmla="*/ 888797 h 899770"/>
                <a:gd name="connsiteX45" fmla="*/ 992272 w 1123945"/>
                <a:gd name="connsiteY45" fmla="*/ 896112 h 899770"/>
                <a:gd name="connsiteX46" fmla="*/ 1010560 w 1123945"/>
                <a:gd name="connsiteY46" fmla="*/ 899770 h 899770"/>
                <a:gd name="connsiteX47" fmla="*/ 1080054 w 1123945"/>
                <a:gd name="connsiteY47" fmla="*/ 896112 h 899770"/>
                <a:gd name="connsiteX48" fmla="*/ 1102000 w 1123945"/>
                <a:gd name="connsiteY48" fmla="*/ 888797 h 899770"/>
                <a:gd name="connsiteX49" fmla="*/ 1112972 w 1123945"/>
                <a:gd name="connsiteY49" fmla="*/ 877824 h 899770"/>
                <a:gd name="connsiteX50" fmla="*/ 1120288 w 1123945"/>
                <a:gd name="connsiteY50" fmla="*/ 837591 h 899770"/>
                <a:gd name="connsiteX51" fmla="*/ 1123945 w 1123945"/>
                <a:gd name="connsiteY51" fmla="*/ 826618 h 899770"/>
                <a:gd name="connsiteX52" fmla="*/ 1120288 w 1123945"/>
                <a:gd name="connsiteY52" fmla="*/ 764439 h 899770"/>
                <a:gd name="connsiteX53" fmla="*/ 1102000 w 1123945"/>
                <a:gd name="connsiteY53" fmla="*/ 731520 h 899770"/>
                <a:gd name="connsiteX54" fmla="*/ 1087369 w 1123945"/>
                <a:gd name="connsiteY54" fmla="*/ 705917 h 899770"/>
                <a:gd name="connsiteX55" fmla="*/ 1076396 w 1123945"/>
                <a:gd name="connsiteY55" fmla="*/ 680314 h 899770"/>
                <a:gd name="connsiteX56" fmla="*/ 1065424 w 1123945"/>
                <a:gd name="connsiteY56" fmla="*/ 654711 h 899770"/>
                <a:gd name="connsiteX57" fmla="*/ 1061766 w 1123945"/>
                <a:gd name="connsiteY57" fmla="*/ 640080 h 899770"/>
                <a:gd name="connsiteX58" fmla="*/ 1054451 w 1123945"/>
                <a:gd name="connsiteY58" fmla="*/ 625450 h 899770"/>
                <a:gd name="connsiteX59" fmla="*/ 1050793 w 1123945"/>
                <a:gd name="connsiteY59" fmla="*/ 614477 h 899770"/>
                <a:gd name="connsiteX60" fmla="*/ 1054451 w 1123945"/>
                <a:gd name="connsiteY60" fmla="*/ 566928 h 899770"/>
                <a:gd name="connsiteX61" fmla="*/ 1058108 w 1123945"/>
                <a:gd name="connsiteY61" fmla="*/ 552298 h 899770"/>
                <a:gd name="connsiteX62" fmla="*/ 1069081 w 1123945"/>
                <a:gd name="connsiteY62" fmla="*/ 526695 h 899770"/>
                <a:gd name="connsiteX63" fmla="*/ 1076396 w 1123945"/>
                <a:gd name="connsiteY63" fmla="*/ 515722 h 899770"/>
                <a:gd name="connsiteX64" fmla="*/ 1065424 w 1123945"/>
                <a:gd name="connsiteY64" fmla="*/ 391364 h 899770"/>
                <a:gd name="connsiteX65" fmla="*/ 1061766 w 1123945"/>
                <a:gd name="connsiteY65" fmla="*/ 373076 h 899770"/>
                <a:gd name="connsiteX66" fmla="*/ 1054451 w 1123945"/>
                <a:gd name="connsiteY66" fmla="*/ 365760 h 899770"/>
                <a:gd name="connsiteX67" fmla="*/ 1039820 w 1123945"/>
                <a:gd name="connsiteY67" fmla="*/ 343815 h 899770"/>
                <a:gd name="connsiteX68" fmla="*/ 1028848 w 1123945"/>
                <a:gd name="connsiteY68" fmla="*/ 340157 h 899770"/>
                <a:gd name="connsiteX69" fmla="*/ 1010560 w 1123945"/>
                <a:gd name="connsiteY69" fmla="*/ 321869 h 899770"/>
                <a:gd name="connsiteX70" fmla="*/ 1003244 w 1123945"/>
                <a:gd name="connsiteY70" fmla="*/ 314554 h 899770"/>
                <a:gd name="connsiteX71" fmla="*/ 992272 w 1123945"/>
                <a:gd name="connsiteY71" fmla="*/ 307239 h 899770"/>
                <a:gd name="connsiteX72" fmla="*/ 984956 w 1123945"/>
                <a:gd name="connsiteY72" fmla="*/ 299924 h 899770"/>
                <a:gd name="connsiteX73" fmla="*/ 963011 w 1123945"/>
                <a:gd name="connsiteY73" fmla="*/ 292608 h 899770"/>
                <a:gd name="connsiteX74" fmla="*/ 952038 w 1123945"/>
                <a:gd name="connsiteY74" fmla="*/ 285293 h 899770"/>
                <a:gd name="connsiteX75" fmla="*/ 824022 w 1123945"/>
                <a:gd name="connsiteY75" fmla="*/ 270663 h 899770"/>
                <a:gd name="connsiteX76" fmla="*/ 747212 w 1123945"/>
                <a:gd name="connsiteY76" fmla="*/ 270663 h 899770"/>
                <a:gd name="connsiteX77" fmla="*/ 728924 w 1123945"/>
                <a:gd name="connsiteY77" fmla="*/ 267005 h 899770"/>
                <a:gd name="connsiteX78" fmla="*/ 725267 w 1123945"/>
                <a:gd name="connsiteY78" fmla="*/ 256032 h 899770"/>
                <a:gd name="connsiteX79" fmla="*/ 717952 w 1123945"/>
                <a:gd name="connsiteY79" fmla="*/ 245060 h 899770"/>
                <a:gd name="connsiteX80" fmla="*/ 710636 w 1123945"/>
                <a:gd name="connsiteY80" fmla="*/ 208484 h 899770"/>
                <a:gd name="connsiteX81" fmla="*/ 703321 w 1123945"/>
                <a:gd name="connsiteY81" fmla="*/ 201168 h 899770"/>
                <a:gd name="connsiteX82" fmla="*/ 688691 w 1123945"/>
                <a:gd name="connsiteY82" fmla="*/ 182880 h 899770"/>
                <a:gd name="connsiteX83" fmla="*/ 670403 w 1123945"/>
                <a:gd name="connsiteY83" fmla="*/ 164592 h 899770"/>
                <a:gd name="connsiteX84" fmla="*/ 659430 w 1123945"/>
                <a:gd name="connsiteY84" fmla="*/ 153620 h 899770"/>
                <a:gd name="connsiteX85" fmla="*/ 633827 w 1123945"/>
                <a:gd name="connsiteY85" fmla="*/ 146304 h 899770"/>
                <a:gd name="connsiteX86" fmla="*/ 600908 w 1123945"/>
                <a:gd name="connsiteY86" fmla="*/ 131674 h 899770"/>
                <a:gd name="connsiteX87" fmla="*/ 557017 w 1123945"/>
                <a:gd name="connsiteY87" fmla="*/ 128016 h 899770"/>
                <a:gd name="connsiteX88" fmla="*/ 531414 w 1123945"/>
                <a:gd name="connsiteY88" fmla="*/ 120701 h 899770"/>
                <a:gd name="connsiteX89" fmla="*/ 520441 w 1123945"/>
                <a:gd name="connsiteY89" fmla="*/ 117044 h 899770"/>
                <a:gd name="connsiteX90" fmla="*/ 505811 w 1123945"/>
                <a:gd name="connsiteY90" fmla="*/ 113386 h 899770"/>
                <a:gd name="connsiteX91" fmla="*/ 494838 w 1123945"/>
                <a:gd name="connsiteY91" fmla="*/ 109728 h 899770"/>
                <a:gd name="connsiteX92" fmla="*/ 370480 w 1123945"/>
                <a:gd name="connsiteY92" fmla="*/ 106071 h 899770"/>
                <a:gd name="connsiteX93" fmla="*/ 348534 w 1123945"/>
                <a:gd name="connsiteY93" fmla="*/ 95098 h 899770"/>
                <a:gd name="connsiteX94" fmla="*/ 322931 w 1123945"/>
                <a:gd name="connsiteY94" fmla="*/ 87783 h 899770"/>
                <a:gd name="connsiteX95" fmla="*/ 311958 w 1123945"/>
                <a:gd name="connsiteY95" fmla="*/ 76810 h 899770"/>
                <a:gd name="connsiteX96" fmla="*/ 297328 w 1123945"/>
                <a:gd name="connsiteY96" fmla="*/ 73152 h 899770"/>
                <a:gd name="connsiteX97" fmla="*/ 286355 w 1123945"/>
                <a:gd name="connsiteY97" fmla="*/ 69495 h 899770"/>
                <a:gd name="connsiteX98" fmla="*/ 275382 w 1123945"/>
                <a:gd name="connsiteY98" fmla="*/ 62180 h 899770"/>
                <a:gd name="connsiteX99" fmla="*/ 253436 w 1123945"/>
                <a:gd name="connsiteY99" fmla="*/ 54864 h 899770"/>
                <a:gd name="connsiteX100" fmla="*/ 242464 w 1123945"/>
                <a:gd name="connsiteY100" fmla="*/ 51207 h 899770"/>
                <a:gd name="connsiteX101" fmla="*/ 231491 w 1123945"/>
                <a:gd name="connsiteY101" fmla="*/ 47549 h 899770"/>
                <a:gd name="connsiteX102" fmla="*/ 216860 w 1123945"/>
                <a:gd name="connsiteY102" fmla="*/ 43892 h 899770"/>
                <a:gd name="connsiteX103" fmla="*/ 205888 w 1123945"/>
                <a:gd name="connsiteY103" fmla="*/ 36576 h 899770"/>
                <a:gd name="connsiteX104" fmla="*/ 183942 w 1123945"/>
                <a:gd name="connsiteY104" fmla="*/ 29261 h 899770"/>
                <a:gd name="connsiteX105" fmla="*/ 158339 w 1123945"/>
                <a:gd name="connsiteY105" fmla="*/ 14631 h 899770"/>
                <a:gd name="connsiteX106" fmla="*/ 147366 w 1123945"/>
                <a:gd name="connsiteY106" fmla="*/ 7316 h 899770"/>
                <a:gd name="connsiteX107" fmla="*/ 125420 w 1123945"/>
                <a:gd name="connsiteY107" fmla="*/ 0 h 899770"/>
                <a:gd name="connsiteX108" fmla="*/ 88844 w 1123945"/>
                <a:gd name="connsiteY108" fmla="*/ 3658 h 899770"/>
                <a:gd name="connsiteX109" fmla="*/ 77872 w 1123945"/>
                <a:gd name="connsiteY109" fmla="*/ 10973 h 899770"/>
                <a:gd name="connsiteX110" fmla="*/ 63241 w 1123945"/>
                <a:gd name="connsiteY110" fmla="*/ 14631 h 899770"/>
                <a:gd name="connsiteX111" fmla="*/ 52268 w 1123945"/>
                <a:gd name="connsiteY111" fmla="*/ 21946 h 899770"/>
                <a:gd name="connsiteX112" fmla="*/ 33980 w 1123945"/>
                <a:gd name="connsiteY112" fmla="*/ 25604 h 899770"/>
                <a:gd name="connsiteX113" fmla="*/ 23008 w 1123945"/>
                <a:gd name="connsiteY113" fmla="*/ 36576 h 899770"/>
                <a:gd name="connsiteX114" fmla="*/ 19350 w 1123945"/>
                <a:gd name="connsiteY114" fmla="*/ 51207 h 899770"/>
                <a:gd name="connsiteX115" fmla="*/ 15692 w 1123945"/>
                <a:gd name="connsiteY115" fmla="*/ 62180 h 899770"/>
                <a:gd name="connsiteX116" fmla="*/ 33980 w 1123945"/>
                <a:gd name="connsiteY116" fmla="*/ 102413 h 899770"/>
                <a:gd name="connsiteX117" fmla="*/ 37638 w 1123945"/>
                <a:gd name="connsiteY117" fmla="*/ 113386 h 899770"/>
                <a:gd name="connsiteX118" fmla="*/ 30323 w 1123945"/>
                <a:gd name="connsiteY118" fmla="*/ 157277 h 899770"/>
                <a:gd name="connsiteX119" fmla="*/ 15692 w 1123945"/>
                <a:gd name="connsiteY119" fmla="*/ 179223 h 899770"/>
                <a:gd name="connsiteX120" fmla="*/ 8377 w 1123945"/>
                <a:gd name="connsiteY120" fmla="*/ 190196 h 899770"/>
                <a:gd name="connsiteX121" fmla="*/ 4720 w 1123945"/>
                <a:gd name="connsiteY121" fmla="*/ 201168 h 899770"/>
                <a:gd name="connsiteX122" fmla="*/ 4720 w 1123945"/>
                <a:gd name="connsiteY122" fmla="*/ 270663 h 899770"/>
                <a:gd name="connsiteX123" fmla="*/ 15692 w 1123945"/>
                <a:gd name="connsiteY123" fmla="*/ 285293 h 899770"/>
                <a:gd name="connsiteX124" fmla="*/ 23008 w 1123945"/>
                <a:gd name="connsiteY124" fmla="*/ 296266 h 899770"/>
                <a:gd name="connsiteX125" fmla="*/ 37638 w 1123945"/>
                <a:gd name="connsiteY125" fmla="*/ 321869 h 899770"/>
                <a:gd name="connsiteX126" fmla="*/ 48611 w 1123945"/>
                <a:gd name="connsiteY126" fmla="*/ 347472 h 899770"/>
                <a:gd name="connsiteX127" fmla="*/ 59584 w 1123945"/>
                <a:gd name="connsiteY127" fmla="*/ 354788 h 899770"/>
                <a:gd name="connsiteX128" fmla="*/ 77872 w 1123945"/>
                <a:gd name="connsiteY128" fmla="*/ 373076 h 899770"/>
                <a:gd name="connsiteX129" fmla="*/ 92502 w 1123945"/>
                <a:gd name="connsiteY129" fmla="*/ 391364 h 899770"/>
                <a:gd name="connsiteX130" fmla="*/ 114448 w 1123945"/>
                <a:gd name="connsiteY130" fmla="*/ 398679 h 899770"/>
                <a:gd name="connsiteX131" fmla="*/ 114448 w 1123945"/>
                <a:gd name="connsiteY131" fmla="*/ 409652 h 899770"/>
                <a:gd name="connsiteX0" fmla="*/ 114448 w 1123945"/>
                <a:gd name="connsiteY0" fmla="*/ 409652 h 899770"/>
                <a:gd name="connsiteX1" fmla="*/ 114448 w 1123945"/>
                <a:gd name="connsiteY1" fmla="*/ 409652 h 899770"/>
                <a:gd name="connsiteX2" fmla="*/ 151024 w 1123945"/>
                <a:gd name="connsiteY2" fmla="*/ 435255 h 899770"/>
                <a:gd name="connsiteX3" fmla="*/ 110789 w 1123945"/>
                <a:gd name="connsiteY3" fmla="*/ 431597 h 899770"/>
                <a:gd name="connsiteX4" fmla="*/ 121762 w 1123945"/>
                <a:gd name="connsiteY4" fmla="*/ 446228 h 899770"/>
                <a:gd name="connsiteX5" fmla="*/ 132735 w 1123945"/>
                <a:gd name="connsiteY5" fmla="*/ 464516 h 899770"/>
                <a:gd name="connsiteX6" fmla="*/ 129077 w 1123945"/>
                <a:gd name="connsiteY6" fmla="*/ 493776 h 899770"/>
                <a:gd name="connsiteX7" fmla="*/ 202230 w 1123945"/>
                <a:gd name="connsiteY7" fmla="*/ 519379 h 899770"/>
                <a:gd name="connsiteX8" fmla="*/ 249778 w 1123945"/>
                <a:gd name="connsiteY8" fmla="*/ 548640 h 899770"/>
                <a:gd name="connsiteX9" fmla="*/ 297328 w 1123945"/>
                <a:gd name="connsiteY9" fmla="*/ 515722 h 899770"/>
                <a:gd name="connsiteX10" fmla="*/ 319273 w 1123945"/>
                <a:gd name="connsiteY10" fmla="*/ 530352 h 899770"/>
                <a:gd name="connsiteX11" fmla="*/ 326588 w 1123945"/>
                <a:gd name="connsiteY11" fmla="*/ 537668 h 899770"/>
                <a:gd name="connsiteX12" fmla="*/ 348534 w 1123945"/>
                <a:gd name="connsiteY12" fmla="*/ 544983 h 899770"/>
                <a:gd name="connsiteX13" fmla="*/ 392425 w 1123945"/>
                <a:gd name="connsiteY13" fmla="*/ 552298 h 899770"/>
                <a:gd name="connsiteX14" fmla="*/ 407056 w 1123945"/>
                <a:gd name="connsiteY14" fmla="*/ 559613 h 899770"/>
                <a:gd name="connsiteX15" fmla="*/ 432659 w 1123945"/>
                <a:gd name="connsiteY15" fmla="*/ 574244 h 899770"/>
                <a:gd name="connsiteX16" fmla="*/ 447289 w 1123945"/>
                <a:gd name="connsiteY16" fmla="*/ 585216 h 899770"/>
                <a:gd name="connsiteX17" fmla="*/ 458262 w 1123945"/>
                <a:gd name="connsiteY17" fmla="*/ 588874 h 899770"/>
                <a:gd name="connsiteX18" fmla="*/ 472892 w 1123945"/>
                <a:gd name="connsiteY18" fmla="*/ 599847 h 899770"/>
                <a:gd name="connsiteX19" fmla="*/ 480208 w 1123945"/>
                <a:gd name="connsiteY19" fmla="*/ 607162 h 899770"/>
                <a:gd name="connsiteX20" fmla="*/ 491180 w 1123945"/>
                <a:gd name="connsiteY20" fmla="*/ 610820 h 899770"/>
                <a:gd name="connsiteX21" fmla="*/ 513126 w 1123945"/>
                <a:gd name="connsiteY21" fmla="*/ 621792 h 899770"/>
                <a:gd name="connsiteX22" fmla="*/ 546044 w 1123945"/>
                <a:gd name="connsiteY22" fmla="*/ 640080 h 899770"/>
                <a:gd name="connsiteX23" fmla="*/ 564332 w 1123945"/>
                <a:gd name="connsiteY23" fmla="*/ 643738 h 899770"/>
                <a:gd name="connsiteX24" fmla="*/ 586278 w 1123945"/>
                <a:gd name="connsiteY24" fmla="*/ 651053 h 899770"/>
                <a:gd name="connsiteX25" fmla="*/ 597251 w 1123945"/>
                <a:gd name="connsiteY25" fmla="*/ 654711 h 899770"/>
                <a:gd name="connsiteX26" fmla="*/ 619196 w 1123945"/>
                <a:gd name="connsiteY26" fmla="*/ 676656 h 899770"/>
                <a:gd name="connsiteX27" fmla="*/ 637484 w 1123945"/>
                <a:gd name="connsiteY27" fmla="*/ 694944 h 899770"/>
                <a:gd name="connsiteX28" fmla="*/ 644800 w 1123945"/>
                <a:gd name="connsiteY28" fmla="*/ 702260 h 899770"/>
                <a:gd name="connsiteX29" fmla="*/ 670403 w 1123945"/>
                <a:gd name="connsiteY29" fmla="*/ 720548 h 899770"/>
                <a:gd name="connsiteX30" fmla="*/ 685033 w 1123945"/>
                <a:gd name="connsiteY30" fmla="*/ 727863 h 899770"/>
                <a:gd name="connsiteX31" fmla="*/ 696006 w 1123945"/>
                <a:gd name="connsiteY31" fmla="*/ 735178 h 899770"/>
                <a:gd name="connsiteX32" fmla="*/ 706979 w 1123945"/>
                <a:gd name="connsiteY32" fmla="*/ 738836 h 899770"/>
                <a:gd name="connsiteX33" fmla="*/ 728924 w 1123945"/>
                <a:gd name="connsiteY33" fmla="*/ 749808 h 899770"/>
                <a:gd name="connsiteX34" fmla="*/ 736240 w 1123945"/>
                <a:gd name="connsiteY34" fmla="*/ 760781 h 899770"/>
                <a:gd name="connsiteX35" fmla="*/ 761843 w 1123945"/>
                <a:gd name="connsiteY35" fmla="*/ 768096 h 899770"/>
                <a:gd name="connsiteX36" fmla="*/ 783788 w 1123945"/>
                <a:gd name="connsiteY36" fmla="*/ 782727 h 899770"/>
                <a:gd name="connsiteX37" fmla="*/ 794761 w 1123945"/>
                <a:gd name="connsiteY37" fmla="*/ 786384 h 899770"/>
                <a:gd name="connsiteX38" fmla="*/ 834995 w 1123945"/>
                <a:gd name="connsiteY38" fmla="*/ 797357 h 899770"/>
                <a:gd name="connsiteX39" fmla="*/ 845968 w 1123945"/>
                <a:gd name="connsiteY39" fmla="*/ 804672 h 899770"/>
                <a:gd name="connsiteX40" fmla="*/ 860598 w 1123945"/>
                <a:gd name="connsiteY40" fmla="*/ 808330 h 899770"/>
                <a:gd name="connsiteX41" fmla="*/ 897174 w 1123945"/>
                <a:gd name="connsiteY41" fmla="*/ 822960 h 899770"/>
                <a:gd name="connsiteX42" fmla="*/ 919120 w 1123945"/>
                <a:gd name="connsiteY42" fmla="*/ 837591 h 899770"/>
                <a:gd name="connsiteX43" fmla="*/ 944723 w 1123945"/>
                <a:gd name="connsiteY43" fmla="*/ 859536 h 899770"/>
                <a:gd name="connsiteX44" fmla="*/ 977641 w 1123945"/>
                <a:gd name="connsiteY44" fmla="*/ 888797 h 899770"/>
                <a:gd name="connsiteX45" fmla="*/ 992272 w 1123945"/>
                <a:gd name="connsiteY45" fmla="*/ 896112 h 899770"/>
                <a:gd name="connsiteX46" fmla="*/ 1010560 w 1123945"/>
                <a:gd name="connsiteY46" fmla="*/ 899770 h 899770"/>
                <a:gd name="connsiteX47" fmla="*/ 1080054 w 1123945"/>
                <a:gd name="connsiteY47" fmla="*/ 896112 h 899770"/>
                <a:gd name="connsiteX48" fmla="*/ 1102000 w 1123945"/>
                <a:gd name="connsiteY48" fmla="*/ 888797 h 899770"/>
                <a:gd name="connsiteX49" fmla="*/ 1112972 w 1123945"/>
                <a:gd name="connsiteY49" fmla="*/ 877824 h 899770"/>
                <a:gd name="connsiteX50" fmla="*/ 1120288 w 1123945"/>
                <a:gd name="connsiteY50" fmla="*/ 837591 h 899770"/>
                <a:gd name="connsiteX51" fmla="*/ 1123945 w 1123945"/>
                <a:gd name="connsiteY51" fmla="*/ 826618 h 899770"/>
                <a:gd name="connsiteX52" fmla="*/ 1120288 w 1123945"/>
                <a:gd name="connsiteY52" fmla="*/ 764439 h 899770"/>
                <a:gd name="connsiteX53" fmla="*/ 1102000 w 1123945"/>
                <a:gd name="connsiteY53" fmla="*/ 731520 h 899770"/>
                <a:gd name="connsiteX54" fmla="*/ 1087369 w 1123945"/>
                <a:gd name="connsiteY54" fmla="*/ 705917 h 899770"/>
                <a:gd name="connsiteX55" fmla="*/ 1076396 w 1123945"/>
                <a:gd name="connsiteY55" fmla="*/ 680314 h 899770"/>
                <a:gd name="connsiteX56" fmla="*/ 1065424 w 1123945"/>
                <a:gd name="connsiteY56" fmla="*/ 654711 h 899770"/>
                <a:gd name="connsiteX57" fmla="*/ 1061766 w 1123945"/>
                <a:gd name="connsiteY57" fmla="*/ 640080 h 899770"/>
                <a:gd name="connsiteX58" fmla="*/ 1054451 w 1123945"/>
                <a:gd name="connsiteY58" fmla="*/ 625450 h 899770"/>
                <a:gd name="connsiteX59" fmla="*/ 1050793 w 1123945"/>
                <a:gd name="connsiteY59" fmla="*/ 614477 h 899770"/>
                <a:gd name="connsiteX60" fmla="*/ 1054451 w 1123945"/>
                <a:gd name="connsiteY60" fmla="*/ 566928 h 899770"/>
                <a:gd name="connsiteX61" fmla="*/ 1058108 w 1123945"/>
                <a:gd name="connsiteY61" fmla="*/ 552298 h 899770"/>
                <a:gd name="connsiteX62" fmla="*/ 1069081 w 1123945"/>
                <a:gd name="connsiteY62" fmla="*/ 526695 h 899770"/>
                <a:gd name="connsiteX63" fmla="*/ 1076396 w 1123945"/>
                <a:gd name="connsiteY63" fmla="*/ 515722 h 899770"/>
                <a:gd name="connsiteX64" fmla="*/ 1065424 w 1123945"/>
                <a:gd name="connsiteY64" fmla="*/ 391364 h 899770"/>
                <a:gd name="connsiteX65" fmla="*/ 1061766 w 1123945"/>
                <a:gd name="connsiteY65" fmla="*/ 373076 h 899770"/>
                <a:gd name="connsiteX66" fmla="*/ 1054451 w 1123945"/>
                <a:gd name="connsiteY66" fmla="*/ 365760 h 899770"/>
                <a:gd name="connsiteX67" fmla="*/ 1039820 w 1123945"/>
                <a:gd name="connsiteY67" fmla="*/ 343815 h 899770"/>
                <a:gd name="connsiteX68" fmla="*/ 1028848 w 1123945"/>
                <a:gd name="connsiteY68" fmla="*/ 340157 h 899770"/>
                <a:gd name="connsiteX69" fmla="*/ 1010560 w 1123945"/>
                <a:gd name="connsiteY69" fmla="*/ 321869 h 899770"/>
                <a:gd name="connsiteX70" fmla="*/ 1003244 w 1123945"/>
                <a:gd name="connsiteY70" fmla="*/ 314554 h 899770"/>
                <a:gd name="connsiteX71" fmla="*/ 992272 w 1123945"/>
                <a:gd name="connsiteY71" fmla="*/ 307239 h 899770"/>
                <a:gd name="connsiteX72" fmla="*/ 984956 w 1123945"/>
                <a:gd name="connsiteY72" fmla="*/ 299924 h 899770"/>
                <a:gd name="connsiteX73" fmla="*/ 963011 w 1123945"/>
                <a:gd name="connsiteY73" fmla="*/ 292608 h 899770"/>
                <a:gd name="connsiteX74" fmla="*/ 952038 w 1123945"/>
                <a:gd name="connsiteY74" fmla="*/ 285293 h 899770"/>
                <a:gd name="connsiteX75" fmla="*/ 824022 w 1123945"/>
                <a:gd name="connsiteY75" fmla="*/ 270663 h 899770"/>
                <a:gd name="connsiteX76" fmla="*/ 747212 w 1123945"/>
                <a:gd name="connsiteY76" fmla="*/ 270663 h 899770"/>
                <a:gd name="connsiteX77" fmla="*/ 728924 w 1123945"/>
                <a:gd name="connsiteY77" fmla="*/ 267005 h 899770"/>
                <a:gd name="connsiteX78" fmla="*/ 725267 w 1123945"/>
                <a:gd name="connsiteY78" fmla="*/ 256032 h 899770"/>
                <a:gd name="connsiteX79" fmla="*/ 717952 w 1123945"/>
                <a:gd name="connsiteY79" fmla="*/ 245060 h 899770"/>
                <a:gd name="connsiteX80" fmla="*/ 710636 w 1123945"/>
                <a:gd name="connsiteY80" fmla="*/ 208484 h 899770"/>
                <a:gd name="connsiteX81" fmla="*/ 703321 w 1123945"/>
                <a:gd name="connsiteY81" fmla="*/ 201168 h 899770"/>
                <a:gd name="connsiteX82" fmla="*/ 688691 w 1123945"/>
                <a:gd name="connsiteY82" fmla="*/ 182880 h 899770"/>
                <a:gd name="connsiteX83" fmla="*/ 670403 w 1123945"/>
                <a:gd name="connsiteY83" fmla="*/ 164592 h 899770"/>
                <a:gd name="connsiteX84" fmla="*/ 659430 w 1123945"/>
                <a:gd name="connsiteY84" fmla="*/ 153620 h 899770"/>
                <a:gd name="connsiteX85" fmla="*/ 633827 w 1123945"/>
                <a:gd name="connsiteY85" fmla="*/ 146304 h 899770"/>
                <a:gd name="connsiteX86" fmla="*/ 600908 w 1123945"/>
                <a:gd name="connsiteY86" fmla="*/ 131674 h 899770"/>
                <a:gd name="connsiteX87" fmla="*/ 557017 w 1123945"/>
                <a:gd name="connsiteY87" fmla="*/ 128016 h 899770"/>
                <a:gd name="connsiteX88" fmla="*/ 531414 w 1123945"/>
                <a:gd name="connsiteY88" fmla="*/ 120701 h 899770"/>
                <a:gd name="connsiteX89" fmla="*/ 520441 w 1123945"/>
                <a:gd name="connsiteY89" fmla="*/ 117044 h 899770"/>
                <a:gd name="connsiteX90" fmla="*/ 505811 w 1123945"/>
                <a:gd name="connsiteY90" fmla="*/ 113386 h 899770"/>
                <a:gd name="connsiteX91" fmla="*/ 494838 w 1123945"/>
                <a:gd name="connsiteY91" fmla="*/ 109728 h 899770"/>
                <a:gd name="connsiteX92" fmla="*/ 370480 w 1123945"/>
                <a:gd name="connsiteY92" fmla="*/ 106071 h 899770"/>
                <a:gd name="connsiteX93" fmla="*/ 348534 w 1123945"/>
                <a:gd name="connsiteY93" fmla="*/ 95098 h 899770"/>
                <a:gd name="connsiteX94" fmla="*/ 322931 w 1123945"/>
                <a:gd name="connsiteY94" fmla="*/ 87783 h 899770"/>
                <a:gd name="connsiteX95" fmla="*/ 311958 w 1123945"/>
                <a:gd name="connsiteY95" fmla="*/ 76810 h 899770"/>
                <a:gd name="connsiteX96" fmla="*/ 297328 w 1123945"/>
                <a:gd name="connsiteY96" fmla="*/ 73152 h 899770"/>
                <a:gd name="connsiteX97" fmla="*/ 286355 w 1123945"/>
                <a:gd name="connsiteY97" fmla="*/ 69495 h 899770"/>
                <a:gd name="connsiteX98" fmla="*/ 275382 w 1123945"/>
                <a:gd name="connsiteY98" fmla="*/ 62180 h 899770"/>
                <a:gd name="connsiteX99" fmla="*/ 253436 w 1123945"/>
                <a:gd name="connsiteY99" fmla="*/ 54864 h 899770"/>
                <a:gd name="connsiteX100" fmla="*/ 242464 w 1123945"/>
                <a:gd name="connsiteY100" fmla="*/ 51207 h 899770"/>
                <a:gd name="connsiteX101" fmla="*/ 231491 w 1123945"/>
                <a:gd name="connsiteY101" fmla="*/ 47549 h 899770"/>
                <a:gd name="connsiteX102" fmla="*/ 216860 w 1123945"/>
                <a:gd name="connsiteY102" fmla="*/ 43892 h 899770"/>
                <a:gd name="connsiteX103" fmla="*/ 205888 w 1123945"/>
                <a:gd name="connsiteY103" fmla="*/ 36576 h 899770"/>
                <a:gd name="connsiteX104" fmla="*/ 183942 w 1123945"/>
                <a:gd name="connsiteY104" fmla="*/ 29261 h 899770"/>
                <a:gd name="connsiteX105" fmla="*/ 158339 w 1123945"/>
                <a:gd name="connsiteY105" fmla="*/ 14631 h 899770"/>
                <a:gd name="connsiteX106" fmla="*/ 147366 w 1123945"/>
                <a:gd name="connsiteY106" fmla="*/ 7316 h 899770"/>
                <a:gd name="connsiteX107" fmla="*/ 125420 w 1123945"/>
                <a:gd name="connsiteY107" fmla="*/ 0 h 899770"/>
                <a:gd name="connsiteX108" fmla="*/ 88844 w 1123945"/>
                <a:gd name="connsiteY108" fmla="*/ 3658 h 899770"/>
                <a:gd name="connsiteX109" fmla="*/ 77872 w 1123945"/>
                <a:gd name="connsiteY109" fmla="*/ 10973 h 899770"/>
                <a:gd name="connsiteX110" fmla="*/ 63241 w 1123945"/>
                <a:gd name="connsiteY110" fmla="*/ 14631 h 899770"/>
                <a:gd name="connsiteX111" fmla="*/ 52268 w 1123945"/>
                <a:gd name="connsiteY111" fmla="*/ 21946 h 899770"/>
                <a:gd name="connsiteX112" fmla="*/ 33980 w 1123945"/>
                <a:gd name="connsiteY112" fmla="*/ 25604 h 899770"/>
                <a:gd name="connsiteX113" fmla="*/ 23008 w 1123945"/>
                <a:gd name="connsiteY113" fmla="*/ 36576 h 899770"/>
                <a:gd name="connsiteX114" fmla="*/ 19350 w 1123945"/>
                <a:gd name="connsiteY114" fmla="*/ 51207 h 899770"/>
                <a:gd name="connsiteX115" fmla="*/ 15692 w 1123945"/>
                <a:gd name="connsiteY115" fmla="*/ 62180 h 899770"/>
                <a:gd name="connsiteX116" fmla="*/ 33980 w 1123945"/>
                <a:gd name="connsiteY116" fmla="*/ 102413 h 899770"/>
                <a:gd name="connsiteX117" fmla="*/ 37638 w 1123945"/>
                <a:gd name="connsiteY117" fmla="*/ 113386 h 899770"/>
                <a:gd name="connsiteX118" fmla="*/ 30323 w 1123945"/>
                <a:gd name="connsiteY118" fmla="*/ 157277 h 899770"/>
                <a:gd name="connsiteX119" fmla="*/ 15692 w 1123945"/>
                <a:gd name="connsiteY119" fmla="*/ 179223 h 899770"/>
                <a:gd name="connsiteX120" fmla="*/ 8377 w 1123945"/>
                <a:gd name="connsiteY120" fmla="*/ 190196 h 899770"/>
                <a:gd name="connsiteX121" fmla="*/ 4720 w 1123945"/>
                <a:gd name="connsiteY121" fmla="*/ 201168 h 899770"/>
                <a:gd name="connsiteX122" fmla="*/ 4720 w 1123945"/>
                <a:gd name="connsiteY122" fmla="*/ 270663 h 899770"/>
                <a:gd name="connsiteX123" fmla="*/ 15692 w 1123945"/>
                <a:gd name="connsiteY123" fmla="*/ 285293 h 899770"/>
                <a:gd name="connsiteX124" fmla="*/ 23008 w 1123945"/>
                <a:gd name="connsiteY124" fmla="*/ 296266 h 899770"/>
                <a:gd name="connsiteX125" fmla="*/ 37638 w 1123945"/>
                <a:gd name="connsiteY125" fmla="*/ 321869 h 899770"/>
                <a:gd name="connsiteX126" fmla="*/ 48611 w 1123945"/>
                <a:gd name="connsiteY126" fmla="*/ 347472 h 899770"/>
                <a:gd name="connsiteX127" fmla="*/ 59584 w 1123945"/>
                <a:gd name="connsiteY127" fmla="*/ 354788 h 899770"/>
                <a:gd name="connsiteX128" fmla="*/ 77872 w 1123945"/>
                <a:gd name="connsiteY128" fmla="*/ 373076 h 899770"/>
                <a:gd name="connsiteX129" fmla="*/ 92502 w 1123945"/>
                <a:gd name="connsiteY129" fmla="*/ 391364 h 899770"/>
                <a:gd name="connsiteX130" fmla="*/ 114448 w 1123945"/>
                <a:gd name="connsiteY130" fmla="*/ 398679 h 899770"/>
                <a:gd name="connsiteX131" fmla="*/ 114448 w 1123945"/>
                <a:gd name="connsiteY131" fmla="*/ 409652 h 899770"/>
                <a:gd name="connsiteX0" fmla="*/ 114448 w 1123945"/>
                <a:gd name="connsiteY0" fmla="*/ 409652 h 899770"/>
                <a:gd name="connsiteX1" fmla="*/ 114448 w 1123945"/>
                <a:gd name="connsiteY1" fmla="*/ 409652 h 899770"/>
                <a:gd name="connsiteX2" fmla="*/ 103475 w 1123945"/>
                <a:gd name="connsiteY2" fmla="*/ 435255 h 899770"/>
                <a:gd name="connsiteX3" fmla="*/ 110789 w 1123945"/>
                <a:gd name="connsiteY3" fmla="*/ 431597 h 899770"/>
                <a:gd name="connsiteX4" fmla="*/ 121762 w 1123945"/>
                <a:gd name="connsiteY4" fmla="*/ 446228 h 899770"/>
                <a:gd name="connsiteX5" fmla="*/ 132735 w 1123945"/>
                <a:gd name="connsiteY5" fmla="*/ 464516 h 899770"/>
                <a:gd name="connsiteX6" fmla="*/ 129077 w 1123945"/>
                <a:gd name="connsiteY6" fmla="*/ 493776 h 899770"/>
                <a:gd name="connsiteX7" fmla="*/ 202230 w 1123945"/>
                <a:gd name="connsiteY7" fmla="*/ 519379 h 899770"/>
                <a:gd name="connsiteX8" fmla="*/ 249778 w 1123945"/>
                <a:gd name="connsiteY8" fmla="*/ 548640 h 899770"/>
                <a:gd name="connsiteX9" fmla="*/ 297328 w 1123945"/>
                <a:gd name="connsiteY9" fmla="*/ 515722 h 899770"/>
                <a:gd name="connsiteX10" fmla="*/ 319273 w 1123945"/>
                <a:gd name="connsiteY10" fmla="*/ 530352 h 899770"/>
                <a:gd name="connsiteX11" fmla="*/ 326588 w 1123945"/>
                <a:gd name="connsiteY11" fmla="*/ 537668 h 899770"/>
                <a:gd name="connsiteX12" fmla="*/ 348534 w 1123945"/>
                <a:gd name="connsiteY12" fmla="*/ 544983 h 899770"/>
                <a:gd name="connsiteX13" fmla="*/ 392425 w 1123945"/>
                <a:gd name="connsiteY13" fmla="*/ 552298 h 899770"/>
                <a:gd name="connsiteX14" fmla="*/ 407056 w 1123945"/>
                <a:gd name="connsiteY14" fmla="*/ 559613 h 899770"/>
                <a:gd name="connsiteX15" fmla="*/ 432659 w 1123945"/>
                <a:gd name="connsiteY15" fmla="*/ 574244 h 899770"/>
                <a:gd name="connsiteX16" fmla="*/ 447289 w 1123945"/>
                <a:gd name="connsiteY16" fmla="*/ 585216 h 899770"/>
                <a:gd name="connsiteX17" fmla="*/ 458262 w 1123945"/>
                <a:gd name="connsiteY17" fmla="*/ 588874 h 899770"/>
                <a:gd name="connsiteX18" fmla="*/ 472892 w 1123945"/>
                <a:gd name="connsiteY18" fmla="*/ 599847 h 899770"/>
                <a:gd name="connsiteX19" fmla="*/ 480208 w 1123945"/>
                <a:gd name="connsiteY19" fmla="*/ 607162 h 899770"/>
                <a:gd name="connsiteX20" fmla="*/ 491180 w 1123945"/>
                <a:gd name="connsiteY20" fmla="*/ 610820 h 899770"/>
                <a:gd name="connsiteX21" fmla="*/ 513126 w 1123945"/>
                <a:gd name="connsiteY21" fmla="*/ 621792 h 899770"/>
                <a:gd name="connsiteX22" fmla="*/ 546044 w 1123945"/>
                <a:gd name="connsiteY22" fmla="*/ 640080 h 899770"/>
                <a:gd name="connsiteX23" fmla="*/ 564332 w 1123945"/>
                <a:gd name="connsiteY23" fmla="*/ 643738 h 899770"/>
                <a:gd name="connsiteX24" fmla="*/ 586278 w 1123945"/>
                <a:gd name="connsiteY24" fmla="*/ 651053 h 899770"/>
                <a:gd name="connsiteX25" fmla="*/ 597251 w 1123945"/>
                <a:gd name="connsiteY25" fmla="*/ 654711 h 899770"/>
                <a:gd name="connsiteX26" fmla="*/ 619196 w 1123945"/>
                <a:gd name="connsiteY26" fmla="*/ 676656 h 899770"/>
                <a:gd name="connsiteX27" fmla="*/ 637484 w 1123945"/>
                <a:gd name="connsiteY27" fmla="*/ 694944 h 899770"/>
                <a:gd name="connsiteX28" fmla="*/ 644800 w 1123945"/>
                <a:gd name="connsiteY28" fmla="*/ 702260 h 899770"/>
                <a:gd name="connsiteX29" fmla="*/ 670403 w 1123945"/>
                <a:gd name="connsiteY29" fmla="*/ 720548 h 899770"/>
                <a:gd name="connsiteX30" fmla="*/ 685033 w 1123945"/>
                <a:gd name="connsiteY30" fmla="*/ 727863 h 899770"/>
                <a:gd name="connsiteX31" fmla="*/ 696006 w 1123945"/>
                <a:gd name="connsiteY31" fmla="*/ 735178 h 899770"/>
                <a:gd name="connsiteX32" fmla="*/ 706979 w 1123945"/>
                <a:gd name="connsiteY32" fmla="*/ 738836 h 899770"/>
                <a:gd name="connsiteX33" fmla="*/ 728924 w 1123945"/>
                <a:gd name="connsiteY33" fmla="*/ 749808 h 899770"/>
                <a:gd name="connsiteX34" fmla="*/ 736240 w 1123945"/>
                <a:gd name="connsiteY34" fmla="*/ 760781 h 899770"/>
                <a:gd name="connsiteX35" fmla="*/ 761843 w 1123945"/>
                <a:gd name="connsiteY35" fmla="*/ 768096 h 899770"/>
                <a:gd name="connsiteX36" fmla="*/ 783788 w 1123945"/>
                <a:gd name="connsiteY36" fmla="*/ 782727 h 899770"/>
                <a:gd name="connsiteX37" fmla="*/ 794761 w 1123945"/>
                <a:gd name="connsiteY37" fmla="*/ 786384 h 899770"/>
                <a:gd name="connsiteX38" fmla="*/ 834995 w 1123945"/>
                <a:gd name="connsiteY38" fmla="*/ 797357 h 899770"/>
                <a:gd name="connsiteX39" fmla="*/ 845968 w 1123945"/>
                <a:gd name="connsiteY39" fmla="*/ 804672 h 899770"/>
                <a:gd name="connsiteX40" fmla="*/ 860598 w 1123945"/>
                <a:gd name="connsiteY40" fmla="*/ 808330 h 899770"/>
                <a:gd name="connsiteX41" fmla="*/ 897174 w 1123945"/>
                <a:gd name="connsiteY41" fmla="*/ 822960 h 899770"/>
                <a:gd name="connsiteX42" fmla="*/ 919120 w 1123945"/>
                <a:gd name="connsiteY42" fmla="*/ 837591 h 899770"/>
                <a:gd name="connsiteX43" fmla="*/ 944723 w 1123945"/>
                <a:gd name="connsiteY43" fmla="*/ 859536 h 899770"/>
                <a:gd name="connsiteX44" fmla="*/ 977641 w 1123945"/>
                <a:gd name="connsiteY44" fmla="*/ 888797 h 899770"/>
                <a:gd name="connsiteX45" fmla="*/ 992272 w 1123945"/>
                <a:gd name="connsiteY45" fmla="*/ 896112 h 899770"/>
                <a:gd name="connsiteX46" fmla="*/ 1010560 w 1123945"/>
                <a:gd name="connsiteY46" fmla="*/ 899770 h 899770"/>
                <a:gd name="connsiteX47" fmla="*/ 1080054 w 1123945"/>
                <a:gd name="connsiteY47" fmla="*/ 896112 h 899770"/>
                <a:gd name="connsiteX48" fmla="*/ 1102000 w 1123945"/>
                <a:gd name="connsiteY48" fmla="*/ 888797 h 899770"/>
                <a:gd name="connsiteX49" fmla="*/ 1112972 w 1123945"/>
                <a:gd name="connsiteY49" fmla="*/ 877824 h 899770"/>
                <a:gd name="connsiteX50" fmla="*/ 1120288 w 1123945"/>
                <a:gd name="connsiteY50" fmla="*/ 837591 h 899770"/>
                <a:gd name="connsiteX51" fmla="*/ 1123945 w 1123945"/>
                <a:gd name="connsiteY51" fmla="*/ 826618 h 899770"/>
                <a:gd name="connsiteX52" fmla="*/ 1120288 w 1123945"/>
                <a:gd name="connsiteY52" fmla="*/ 764439 h 899770"/>
                <a:gd name="connsiteX53" fmla="*/ 1102000 w 1123945"/>
                <a:gd name="connsiteY53" fmla="*/ 731520 h 899770"/>
                <a:gd name="connsiteX54" fmla="*/ 1087369 w 1123945"/>
                <a:gd name="connsiteY54" fmla="*/ 705917 h 899770"/>
                <a:gd name="connsiteX55" fmla="*/ 1076396 w 1123945"/>
                <a:gd name="connsiteY55" fmla="*/ 680314 h 899770"/>
                <a:gd name="connsiteX56" fmla="*/ 1065424 w 1123945"/>
                <a:gd name="connsiteY56" fmla="*/ 654711 h 899770"/>
                <a:gd name="connsiteX57" fmla="*/ 1061766 w 1123945"/>
                <a:gd name="connsiteY57" fmla="*/ 640080 h 899770"/>
                <a:gd name="connsiteX58" fmla="*/ 1054451 w 1123945"/>
                <a:gd name="connsiteY58" fmla="*/ 625450 h 899770"/>
                <a:gd name="connsiteX59" fmla="*/ 1050793 w 1123945"/>
                <a:gd name="connsiteY59" fmla="*/ 614477 h 899770"/>
                <a:gd name="connsiteX60" fmla="*/ 1054451 w 1123945"/>
                <a:gd name="connsiteY60" fmla="*/ 566928 h 899770"/>
                <a:gd name="connsiteX61" fmla="*/ 1058108 w 1123945"/>
                <a:gd name="connsiteY61" fmla="*/ 552298 h 899770"/>
                <a:gd name="connsiteX62" fmla="*/ 1069081 w 1123945"/>
                <a:gd name="connsiteY62" fmla="*/ 526695 h 899770"/>
                <a:gd name="connsiteX63" fmla="*/ 1076396 w 1123945"/>
                <a:gd name="connsiteY63" fmla="*/ 515722 h 899770"/>
                <a:gd name="connsiteX64" fmla="*/ 1065424 w 1123945"/>
                <a:gd name="connsiteY64" fmla="*/ 391364 h 899770"/>
                <a:gd name="connsiteX65" fmla="*/ 1061766 w 1123945"/>
                <a:gd name="connsiteY65" fmla="*/ 373076 h 899770"/>
                <a:gd name="connsiteX66" fmla="*/ 1054451 w 1123945"/>
                <a:gd name="connsiteY66" fmla="*/ 365760 h 899770"/>
                <a:gd name="connsiteX67" fmla="*/ 1039820 w 1123945"/>
                <a:gd name="connsiteY67" fmla="*/ 343815 h 899770"/>
                <a:gd name="connsiteX68" fmla="*/ 1028848 w 1123945"/>
                <a:gd name="connsiteY68" fmla="*/ 340157 h 899770"/>
                <a:gd name="connsiteX69" fmla="*/ 1010560 w 1123945"/>
                <a:gd name="connsiteY69" fmla="*/ 321869 h 899770"/>
                <a:gd name="connsiteX70" fmla="*/ 1003244 w 1123945"/>
                <a:gd name="connsiteY70" fmla="*/ 314554 h 899770"/>
                <a:gd name="connsiteX71" fmla="*/ 992272 w 1123945"/>
                <a:gd name="connsiteY71" fmla="*/ 307239 h 899770"/>
                <a:gd name="connsiteX72" fmla="*/ 984956 w 1123945"/>
                <a:gd name="connsiteY72" fmla="*/ 299924 h 899770"/>
                <a:gd name="connsiteX73" fmla="*/ 963011 w 1123945"/>
                <a:gd name="connsiteY73" fmla="*/ 292608 h 899770"/>
                <a:gd name="connsiteX74" fmla="*/ 952038 w 1123945"/>
                <a:gd name="connsiteY74" fmla="*/ 285293 h 899770"/>
                <a:gd name="connsiteX75" fmla="*/ 824022 w 1123945"/>
                <a:gd name="connsiteY75" fmla="*/ 270663 h 899770"/>
                <a:gd name="connsiteX76" fmla="*/ 747212 w 1123945"/>
                <a:gd name="connsiteY76" fmla="*/ 270663 h 899770"/>
                <a:gd name="connsiteX77" fmla="*/ 728924 w 1123945"/>
                <a:gd name="connsiteY77" fmla="*/ 267005 h 899770"/>
                <a:gd name="connsiteX78" fmla="*/ 725267 w 1123945"/>
                <a:gd name="connsiteY78" fmla="*/ 256032 h 899770"/>
                <a:gd name="connsiteX79" fmla="*/ 717952 w 1123945"/>
                <a:gd name="connsiteY79" fmla="*/ 245060 h 899770"/>
                <a:gd name="connsiteX80" fmla="*/ 710636 w 1123945"/>
                <a:gd name="connsiteY80" fmla="*/ 208484 h 899770"/>
                <a:gd name="connsiteX81" fmla="*/ 703321 w 1123945"/>
                <a:gd name="connsiteY81" fmla="*/ 201168 h 899770"/>
                <a:gd name="connsiteX82" fmla="*/ 688691 w 1123945"/>
                <a:gd name="connsiteY82" fmla="*/ 182880 h 899770"/>
                <a:gd name="connsiteX83" fmla="*/ 670403 w 1123945"/>
                <a:gd name="connsiteY83" fmla="*/ 164592 h 899770"/>
                <a:gd name="connsiteX84" fmla="*/ 659430 w 1123945"/>
                <a:gd name="connsiteY84" fmla="*/ 153620 h 899770"/>
                <a:gd name="connsiteX85" fmla="*/ 633827 w 1123945"/>
                <a:gd name="connsiteY85" fmla="*/ 146304 h 899770"/>
                <a:gd name="connsiteX86" fmla="*/ 600908 w 1123945"/>
                <a:gd name="connsiteY86" fmla="*/ 131674 h 899770"/>
                <a:gd name="connsiteX87" fmla="*/ 557017 w 1123945"/>
                <a:gd name="connsiteY87" fmla="*/ 128016 h 899770"/>
                <a:gd name="connsiteX88" fmla="*/ 531414 w 1123945"/>
                <a:gd name="connsiteY88" fmla="*/ 120701 h 899770"/>
                <a:gd name="connsiteX89" fmla="*/ 520441 w 1123945"/>
                <a:gd name="connsiteY89" fmla="*/ 117044 h 899770"/>
                <a:gd name="connsiteX90" fmla="*/ 505811 w 1123945"/>
                <a:gd name="connsiteY90" fmla="*/ 113386 h 899770"/>
                <a:gd name="connsiteX91" fmla="*/ 494838 w 1123945"/>
                <a:gd name="connsiteY91" fmla="*/ 109728 h 899770"/>
                <a:gd name="connsiteX92" fmla="*/ 370480 w 1123945"/>
                <a:gd name="connsiteY92" fmla="*/ 106071 h 899770"/>
                <a:gd name="connsiteX93" fmla="*/ 348534 w 1123945"/>
                <a:gd name="connsiteY93" fmla="*/ 95098 h 899770"/>
                <a:gd name="connsiteX94" fmla="*/ 322931 w 1123945"/>
                <a:gd name="connsiteY94" fmla="*/ 87783 h 899770"/>
                <a:gd name="connsiteX95" fmla="*/ 311958 w 1123945"/>
                <a:gd name="connsiteY95" fmla="*/ 76810 h 899770"/>
                <a:gd name="connsiteX96" fmla="*/ 297328 w 1123945"/>
                <a:gd name="connsiteY96" fmla="*/ 73152 h 899770"/>
                <a:gd name="connsiteX97" fmla="*/ 286355 w 1123945"/>
                <a:gd name="connsiteY97" fmla="*/ 69495 h 899770"/>
                <a:gd name="connsiteX98" fmla="*/ 275382 w 1123945"/>
                <a:gd name="connsiteY98" fmla="*/ 62180 h 899770"/>
                <a:gd name="connsiteX99" fmla="*/ 253436 w 1123945"/>
                <a:gd name="connsiteY99" fmla="*/ 54864 h 899770"/>
                <a:gd name="connsiteX100" fmla="*/ 242464 w 1123945"/>
                <a:gd name="connsiteY100" fmla="*/ 51207 h 899770"/>
                <a:gd name="connsiteX101" fmla="*/ 231491 w 1123945"/>
                <a:gd name="connsiteY101" fmla="*/ 47549 h 899770"/>
                <a:gd name="connsiteX102" fmla="*/ 216860 w 1123945"/>
                <a:gd name="connsiteY102" fmla="*/ 43892 h 899770"/>
                <a:gd name="connsiteX103" fmla="*/ 205888 w 1123945"/>
                <a:gd name="connsiteY103" fmla="*/ 36576 h 899770"/>
                <a:gd name="connsiteX104" fmla="*/ 183942 w 1123945"/>
                <a:gd name="connsiteY104" fmla="*/ 29261 h 899770"/>
                <a:gd name="connsiteX105" fmla="*/ 158339 w 1123945"/>
                <a:gd name="connsiteY105" fmla="*/ 14631 h 899770"/>
                <a:gd name="connsiteX106" fmla="*/ 147366 w 1123945"/>
                <a:gd name="connsiteY106" fmla="*/ 7316 h 899770"/>
                <a:gd name="connsiteX107" fmla="*/ 125420 w 1123945"/>
                <a:gd name="connsiteY107" fmla="*/ 0 h 899770"/>
                <a:gd name="connsiteX108" fmla="*/ 88844 w 1123945"/>
                <a:gd name="connsiteY108" fmla="*/ 3658 h 899770"/>
                <a:gd name="connsiteX109" fmla="*/ 77872 w 1123945"/>
                <a:gd name="connsiteY109" fmla="*/ 10973 h 899770"/>
                <a:gd name="connsiteX110" fmla="*/ 63241 w 1123945"/>
                <a:gd name="connsiteY110" fmla="*/ 14631 h 899770"/>
                <a:gd name="connsiteX111" fmla="*/ 52268 w 1123945"/>
                <a:gd name="connsiteY111" fmla="*/ 21946 h 899770"/>
                <a:gd name="connsiteX112" fmla="*/ 33980 w 1123945"/>
                <a:gd name="connsiteY112" fmla="*/ 25604 h 899770"/>
                <a:gd name="connsiteX113" fmla="*/ 23008 w 1123945"/>
                <a:gd name="connsiteY113" fmla="*/ 36576 h 899770"/>
                <a:gd name="connsiteX114" fmla="*/ 19350 w 1123945"/>
                <a:gd name="connsiteY114" fmla="*/ 51207 h 899770"/>
                <a:gd name="connsiteX115" fmla="*/ 15692 w 1123945"/>
                <a:gd name="connsiteY115" fmla="*/ 62180 h 899770"/>
                <a:gd name="connsiteX116" fmla="*/ 33980 w 1123945"/>
                <a:gd name="connsiteY116" fmla="*/ 102413 h 899770"/>
                <a:gd name="connsiteX117" fmla="*/ 37638 w 1123945"/>
                <a:gd name="connsiteY117" fmla="*/ 113386 h 899770"/>
                <a:gd name="connsiteX118" fmla="*/ 30323 w 1123945"/>
                <a:gd name="connsiteY118" fmla="*/ 157277 h 899770"/>
                <a:gd name="connsiteX119" fmla="*/ 15692 w 1123945"/>
                <a:gd name="connsiteY119" fmla="*/ 179223 h 899770"/>
                <a:gd name="connsiteX120" fmla="*/ 8377 w 1123945"/>
                <a:gd name="connsiteY120" fmla="*/ 190196 h 899770"/>
                <a:gd name="connsiteX121" fmla="*/ 4720 w 1123945"/>
                <a:gd name="connsiteY121" fmla="*/ 201168 h 899770"/>
                <a:gd name="connsiteX122" fmla="*/ 4720 w 1123945"/>
                <a:gd name="connsiteY122" fmla="*/ 270663 h 899770"/>
                <a:gd name="connsiteX123" fmla="*/ 15692 w 1123945"/>
                <a:gd name="connsiteY123" fmla="*/ 285293 h 899770"/>
                <a:gd name="connsiteX124" fmla="*/ 23008 w 1123945"/>
                <a:gd name="connsiteY124" fmla="*/ 296266 h 899770"/>
                <a:gd name="connsiteX125" fmla="*/ 37638 w 1123945"/>
                <a:gd name="connsiteY125" fmla="*/ 321869 h 899770"/>
                <a:gd name="connsiteX126" fmla="*/ 48611 w 1123945"/>
                <a:gd name="connsiteY126" fmla="*/ 347472 h 899770"/>
                <a:gd name="connsiteX127" fmla="*/ 59584 w 1123945"/>
                <a:gd name="connsiteY127" fmla="*/ 354788 h 899770"/>
                <a:gd name="connsiteX128" fmla="*/ 77872 w 1123945"/>
                <a:gd name="connsiteY128" fmla="*/ 373076 h 899770"/>
                <a:gd name="connsiteX129" fmla="*/ 92502 w 1123945"/>
                <a:gd name="connsiteY129" fmla="*/ 391364 h 899770"/>
                <a:gd name="connsiteX130" fmla="*/ 114448 w 1123945"/>
                <a:gd name="connsiteY130" fmla="*/ 398679 h 899770"/>
                <a:gd name="connsiteX131" fmla="*/ 114448 w 1123945"/>
                <a:gd name="connsiteY131" fmla="*/ 409652 h 899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1123945" h="899770">
                  <a:moveTo>
                    <a:pt x="114448" y="409652"/>
                  </a:moveTo>
                  <a:lnTo>
                    <a:pt x="114448" y="409652"/>
                  </a:lnTo>
                  <a:cubicBezTo>
                    <a:pt x="112619" y="413919"/>
                    <a:pt x="104085" y="431598"/>
                    <a:pt x="103475" y="435255"/>
                  </a:cubicBezTo>
                  <a:cubicBezTo>
                    <a:pt x="102865" y="438912"/>
                    <a:pt x="107741" y="429768"/>
                    <a:pt x="110789" y="431597"/>
                  </a:cubicBezTo>
                  <a:cubicBezTo>
                    <a:pt x="113837" y="433426"/>
                    <a:pt x="118104" y="440742"/>
                    <a:pt x="121762" y="446228"/>
                  </a:cubicBezTo>
                  <a:cubicBezTo>
                    <a:pt x="125420" y="451714"/>
                    <a:pt x="131516" y="456591"/>
                    <a:pt x="132735" y="464516"/>
                  </a:cubicBezTo>
                  <a:cubicBezTo>
                    <a:pt x="133954" y="472441"/>
                    <a:pt x="125419" y="492557"/>
                    <a:pt x="129077" y="493776"/>
                  </a:cubicBezTo>
                  <a:cubicBezTo>
                    <a:pt x="132735" y="496214"/>
                    <a:pt x="182113" y="510235"/>
                    <a:pt x="202230" y="519379"/>
                  </a:cubicBezTo>
                  <a:cubicBezTo>
                    <a:pt x="222347" y="528523"/>
                    <a:pt x="224848" y="532019"/>
                    <a:pt x="249778" y="548640"/>
                  </a:cubicBezTo>
                  <a:cubicBezTo>
                    <a:pt x="261877" y="566787"/>
                    <a:pt x="285745" y="518770"/>
                    <a:pt x="297328" y="515722"/>
                  </a:cubicBezTo>
                  <a:cubicBezTo>
                    <a:pt x="308911" y="512674"/>
                    <a:pt x="303392" y="525059"/>
                    <a:pt x="319273" y="530352"/>
                  </a:cubicBezTo>
                  <a:cubicBezTo>
                    <a:pt x="321711" y="532791"/>
                    <a:pt x="323504" y="536126"/>
                    <a:pt x="326588" y="537668"/>
                  </a:cubicBezTo>
                  <a:cubicBezTo>
                    <a:pt x="333485" y="541117"/>
                    <a:pt x="341219" y="542545"/>
                    <a:pt x="348534" y="544983"/>
                  </a:cubicBezTo>
                  <a:cubicBezTo>
                    <a:pt x="369978" y="552130"/>
                    <a:pt x="355684" y="548215"/>
                    <a:pt x="392425" y="552298"/>
                  </a:cubicBezTo>
                  <a:cubicBezTo>
                    <a:pt x="397302" y="554736"/>
                    <a:pt x="402432" y="556723"/>
                    <a:pt x="407056" y="559613"/>
                  </a:cubicBezTo>
                  <a:cubicBezTo>
                    <a:pt x="432366" y="575431"/>
                    <a:pt x="411099" y="567057"/>
                    <a:pt x="432659" y="574244"/>
                  </a:cubicBezTo>
                  <a:cubicBezTo>
                    <a:pt x="437536" y="577901"/>
                    <a:pt x="441996" y="582192"/>
                    <a:pt x="447289" y="585216"/>
                  </a:cubicBezTo>
                  <a:cubicBezTo>
                    <a:pt x="450637" y="587129"/>
                    <a:pt x="454914" y="586961"/>
                    <a:pt x="458262" y="588874"/>
                  </a:cubicBezTo>
                  <a:cubicBezTo>
                    <a:pt x="463555" y="591899"/>
                    <a:pt x="468209" y="595945"/>
                    <a:pt x="472892" y="599847"/>
                  </a:cubicBezTo>
                  <a:cubicBezTo>
                    <a:pt x="475541" y="602055"/>
                    <a:pt x="477251" y="605388"/>
                    <a:pt x="480208" y="607162"/>
                  </a:cubicBezTo>
                  <a:cubicBezTo>
                    <a:pt x="483514" y="609146"/>
                    <a:pt x="487732" y="609096"/>
                    <a:pt x="491180" y="610820"/>
                  </a:cubicBezTo>
                  <a:cubicBezTo>
                    <a:pt x="519530" y="624996"/>
                    <a:pt x="485555" y="612603"/>
                    <a:pt x="513126" y="621792"/>
                  </a:cubicBezTo>
                  <a:cubicBezTo>
                    <a:pt x="529474" y="632691"/>
                    <a:pt x="530592" y="636217"/>
                    <a:pt x="546044" y="640080"/>
                  </a:cubicBezTo>
                  <a:cubicBezTo>
                    <a:pt x="552075" y="641588"/>
                    <a:pt x="558334" y="642102"/>
                    <a:pt x="564332" y="643738"/>
                  </a:cubicBezTo>
                  <a:cubicBezTo>
                    <a:pt x="571771" y="645767"/>
                    <a:pt x="578963" y="648615"/>
                    <a:pt x="586278" y="651053"/>
                  </a:cubicBezTo>
                  <a:lnTo>
                    <a:pt x="597251" y="654711"/>
                  </a:lnTo>
                  <a:cubicBezTo>
                    <a:pt x="620976" y="686343"/>
                    <a:pt x="595858" y="656235"/>
                    <a:pt x="619196" y="676656"/>
                  </a:cubicBezTo>
                  <a:cubicBezTo>
                    <a:pt x="625684" y="682333"/>
                    <a:pt x="631388" y="688848"/>
                    <a:pt x="637484" y="694944"/>
                  </a:cubicBezTo>
                  <a:cubicBezTo>
                    <a:pt x="639923" y="697383"/>
                    <a:pt x="642041" y="700191"/>
                    <a:pt x="644800" y="702260"/>
                  </a:cubicBezTo>
                  <a:cubicBezTo>
                    <a:pt x="651073" y="706965"/>
                    <a:pt x="662921" y="716273"/>
                    <a:pt x="670403" y="720548"/>
                  </a:cubicBezTo>
                  <a:cubicBezTo>
                    <a:pt x="675137" y="723253"/>
                    <a:pt x="680299" y="725158"/>
                    <a:pt x="685033" y="727863"/>
                  </a:cubicBezTo>
                  <a:cubicBezTo>
                    <a:pt x="688850" y="730044"/>
                    <a:pt x="692074" y="733212"/>
                    <a:pt x="696006" y="735178"/>
                  </a:cubicBezTo>
                  <a:cubicBezTo>
                    <a:pt x="699455" y="736902"/>
                    <a:pt x="703530" y="737112"/>
                    <a:pt x="706979" y="738836"/>
                  </a:cubicBezTo>
                  <a:cubicBezTo>
                    <a:pt x="735335" y="753014"/>
                    <a:pt x="701350" y="740617"/>
                    <a:pt x="728924" y="749808"/>
                  </a:cubicBezTo>
                  <a:cubicBezTo>
                    <a:pt x="731363" y="753466"/>
                    <a:pt x="732807" y="758035"/>
                    <a:pt x="736240" y="760781"/>
                  </a:cubicBezTo>
                  <a:cubicBezTo>
                    <a:pt x="738628" y="762691"/>
                    <a:pt x="760884" y="767856"/>
                    <a:pt x="761843" y="768096"/>
                  </a:cubicBezTo>
                  <a:cubicBezTo>
                    <a:pt x="769158" y="772973"/>
                    <a:pt x="775447" y="779947"/>
                    <a:pt x="783788" y="782727"/>
                  </a:cubicBezTo>
                  <a:cubicBezTo>
                    <a:pt x="787446" y="783946"/>
                    <a:pt x="791041" y="785370"/>
                    <a:pt x="794761" y="786384"/>
                  </a:cubicBezTo>
                  <a:cubicBezTo>
                    <a:pt x="840138" y="798760"/>
                    <a:pt x="809738" y="788940"/>
                    <a:pt x="834995" y="797357"/>
                  </a:cubicBezTo>
                  <a:cubicBezTo>
                    <a:pt x="838653" y="799795"/>
                    <a:pt x="841928" y="802940"/>
                    <a:pt x="845968" y="804672"/>
                  </a:cubicBezTo>
                  <a:cubicBezTo>
                    <a:pt x="850588" y="806652"/>
                    <a:pt x="855783" y="806886"/>
                    <a:pt x="860598" y="808330"/>
                  </a:cubicBezTo>
                  <a:cubicBezTo>
                    <a:pt x="874556" y="812517"/>
                    <a:pt x="884953" y="815627"/>
                    <a:pt x="897174" y="822960"/>
                  </a:cubicBezTo>
                  <a:cubicBezTo>
                    <a:pt x="904713" y="827484"/>
                    <a:pt x="912903" y="831374"/>
                    <a:pt x="919120" y="837591"/>
                  </a:cubicBezTo>
                  <a:cubicBezTo>
                    <a:pt x="958278" y="876753"/>
                    <a:pt x="897815" y="817319"/>
                    <a:pt x="944723" y="859536"/>
                  </a:cubicBezTo>
                  <a:cubicBezTo>
                    <a:pt x="964049" y="876929"/>
                    <a:pt x="960494" y="878999"/>
                    <a:pt x="977641" y="888797"/>
                  </a:cubicBezTo>
                  <a:cubicBezTo>
                    <a:pt x="982375" y="891502"/>
                    <a:pt x="987099" y="894388"/>
                    <a:pt x="992272" y="896112"/>
                  </a:cubicBezTo>
                  <a:cubicBezTo>
                    <a:pt x="998170" y="898078"/>
                    <a:pt x="1004464" y="898551"/>
                    <a:pt x="1010560" y="899770"/>
                  </a:cubicBezTo>
                  <a:cubicBezTo>
                    <a:pt x="1033725" y="898551"/>
                    <a:pt x="1057023" y="898876"/>
                    <a:pt x="1080054" y="896112"/>
                  </a:cubicBezTo>
                  <a:cubicBezTo>
                    <a:pt x="1087710" y="895193"/>
                    <a:pt x="1102000" y="888797"/>
                    <a:pt x="1102000" y="888797"/>
                  </a:cubicBezTo>
                  <a:cubicBezTo>
                    <a:pt x="1105657" y="885139"/>
                    <a:pt x="1110103" y="882128"/>
                    <a:pt x="1112972" y="877824"/>
                  </a:cubicBezTo>
                  <a:cubicBezTo>
                    <a:pt x="1118216" y="869958"/>
                    <a:pt x="1120035" y="838982"/>
                    <a:pt x="1120288" y="837591"/>
                  </a:cubicBezTo>
                  <a:cubicBezTo>
                    <a:pt x="1120978" y="833798"/>
                    <a:pt x="1122726" y="830276"/>
                    <a:pt x="1123945" y="826618"/>
                  </a:cubicBezTo>
                  <a:cubicBezTo>
                    <a:pt x="1122726" y="805892"/>
                    <a:pt x="1122354" y="785098"/>
                    <a:pt x="1120288" y="764439"/>
                  </a:cubicBezTo>
                  <a:cubicBezTo>
                    <a:pt x="1119024" y="751799"/>
                    <a:pt x="1106969" y="741457"/>
                    <a:pt x="1102000" y="731520"/>
                  </a:cubicBezTo>
                  <a:cubicBezTo>
                    <a:pt x="1092718" y="712958"/>
                    <a:pt x="1097708" y="721427"/>
                    <a:pt x="1087369" y="705917"/>
                  </a:cubicBezTo>
                  <a:cubicBezTo>
                    <a:pt x="1076871" y="663917"/>
                    <a:pt x="1091551" y="715676"/>
                    <a:pt x="1076396" y="680314"/>
                  </a:cubicBezTo>
                  <a:cubicBezTo>
                    <a:pt x="1062222" y="647242"/>
                    <a:pt x="1083792" y="682265"/>
                    <a:pt x="1065424" y="654711"/>
                  </a:cubicBezTo>
                  <a:cubicBezTo>
                    <a:pt x="1064205" y="649834"/>
                    <a:pt x="1063531" y="644787"/>
                    <a:pt x="1061766" y="640080"/>
                  </a:cubicBezTo>
                  <a:cubicBezTo>
                    <a:pt x="1059852" y="634975"/>
                    <a:pt x="1056599" y="630461"/>
                    <a:pt x="1054451" y="625450"/>
                  </a:cubicBezTo>
                  <a:cubicBezTo>
                    <a:pt x="1052932" y="621906"/>
                    <a:pt x="1052012" y="618135"/>
                    <a:pt x="1050793" y="614477"/>
                  </a:cubicBezTo>
                  <a:cubicBezTo>
                    <a:pt x="1052012" y="598627"/>
                    <a:pt x="1052594" y="582716"/>
                    <a:pt x="1054451" y="566928"/>
                  </a:cubicBezTo>
                  <a:cubicBezTo>
                    <a:pt x="1055038" y="561936"/>
                    <a:pt x="1056727" y="557131"/>
                    <a:pt x="1058108" y="552298"/>
                  </a:cubicBezTo>
                  <a:cubicBezTo>
                    <a:pt x="1061038" y="542041"/>
                    <a:pt x="1063509" y="536446"/>
                    <a:pt x="1069081" y="526695"/>
                  </a:cubicBezTo>
                  <a:cubicBezTo>
                    <a:pt x="1071262" y="522878"/>
                    <a:pt x="1073958" y="519380"/>
                    <a:pt x="1076396" y="515722"/>
                  </a:cubicBezTo>
                  <a:cubicBezTo>
                    <a:pt x="1071076" y="441245"/>
                    <a:pt x="1074160" y="439412"/>
                    <a:pt x="1065424" y="391364"/>
                  </a:cubicBezTo>
                  <a:cubicBezTo>
                    <a:pt x="1064312" y="385248"/>
                    <a:pt x="1064215" y="378790"/>
                    <a:pt x="1061766" y="373076"/>
                  </a:cubicBezTo>
                  <a:cubicBezTo>
                    <a:pt x="1060408" y="369906"/>
                    <a:pt x="1056364" y="368629"/>
                    <a:pt x="1054451" y="365760"/>
                  </a:cubicBezTo>
                  <a:cubicBezTo>
                    <a:pt x="1048521" y="356864"/>
                    <a:pt x="1049140" y="349407"/>
                    <a:pt x="1039820" y="343815"/>
                  </a:cubicBezTo>
                  <a:cubicBezTo>
                    <a:pt x="1036514" y="341831"/>
                    <a:pt x="1032505" y="341376"/>
                    <a:pt x="1028848" y="340157"/>
                  </a:cubicBezTo>
                  <a:cubicBezTo>
                    <a:pt x="1016307" y="321348"/>
                    <a:pt x="1027976" y="335801"/>
                    <a:pt x="1010560" y="321869"/>
                  </a:cubicBezTo>
                  <a:cubicBezTo>
                    <a:pt x="1007867" y="319715"/>
                    <a:pt x="1005937" y="316708"/>
                    <a:pt x="1003244" y="314554"/>
                  </a:cubicBezTo>
                  <a:cubicBezTo>
                    <a:pt x="999812" y="311808"/>
                    <a:pt x="995704" y="309985"/>
                    <a:pt x="992272" y="307239"/>
                  </a:cubicBezTo>
                  <a:cubicBezTo>
                    <a:pt x="989579" y="305085"/>
                    <a:pt x="988040" y="301466"/>
                    <a:pt x="984956" y="299924"/>
                  </a:cubicBezTo>
                  <a:cubicBezTo>
                    <a:pt x="978059" y="296476"/>
                    <a:pt x="969427" y="296885"/>
                    <a:pt x="963011" y="292608"/>
                  </a:cubicBezTo>
                  <a:cubicBezTo>
                    <a:pt x="959353" y="290170"/>
                    <a:pt x="956349" y="286155"/>
                    <a:pt x="952038" y="285293"/>
                  </a:cubicBezTo>
                  <a:cubicBezTo>
                    <a:pt x="905562" y="275998"/>
                    <a:pt x="869353" y="274149"/>
                    <a:pt x="824022" y="270663"/>
                  </a:cubicBezTo>
                  <a:cubicBezTo>
                    <a:pt x="790160" y="259375"/>
                    <a:pt x="828513" y="270663"/>
                    <a:pt x="747212" y="270663"/>
                  </a:cubicBezTo>
                  <a:cubicBezTo>
                    <a:pt x="740995" y="270663"/>
                    <a:pt x="735020" y="268224"/>
                    <a:pt x="728924" y="267005"/>
                  </a:cubicBezTo>
                  <a:cubicBezTo>
                    <a:pt x="727705" y="263347"/>
                    <a:pt x="726991" y="259480"/>
                    <a:pt x="725267" y="256032"/>
                  </a:cubicBezTo>
                  <a:cubicBezTo>
                    <a:pt x="723301" y="252100"/>
                    <a:pt x="719215" y="249270"/>
                    <a:pt x="717952" y="245060"/>
                  </a:cubicBezTo>
                  <a:cubicBezTo>
                    <a:pt x="715921" y="238290"/>
                    <a:pt x="716049" y="217506"/>
                    <a:pt x="710636" y="208484"/>
                  </a:cubicBezTo>
                  <a:cubicBezTo>
                    <a:pt x="708862" y="205527"/>
                    <a:pt x="705759" y="203607"/>
                    <a:pt x="703321" y="201168"/>
                  </a:cubicBezTo>
                  <a:cubicBezTo>
                    <a:pt x="697055" y="182369"/>
                    <a:pt x="704261" y="196504"/>
                    <a:pt x="688691" y="182880"/>
                  </a:cubicBezTo>
                  <a:cubicBezTo>
                    <a:pt x="682203" y="177203"/>
                    <a:pt x="676499" y="170688"/>
                    <a:pt x="670403" y="164592"/>
                  </a:cubicBezTo>
                  <a:cubicBezTo>
                    <a:pt x="666745" y="160935"/>
                    <a:pt x="664448" y="154875"/>
                    <a:pt x="659430" y="153620"/>
                  </a:cubicBezTo>
                  <a:cubicBezTo>
                    <a:pt x="654742" y="152448"/>
                    <a:pt x="639075" y="148928"/>
                    <a:pt x="633827" y="146304"/>
                  </a:cubicBezTo>
                  <a:cubicBezTo>
                    <a:pt x="618416" y="138598"/>
                    <a:pt x="623555" y="133561"/>
                    <a:pt x="600908" y="131674"/>
                  </a:cubicBezTo>
                  <a:lnTo>
                    <a:pt x="557017" y="128016"/>
                  </a:lnTo>
                  <a:cubicBezTo>
                    <a:pt x="530707" y="119248"/>
                    <a:pt x="563563" y="129886"/>
                    <a:pt x="531414" y="120701"/>
                  </a:cubicBezTo>
                  <a:cubicBezTo>
                    <a:pt x="527707" y="119642"/>
                    <a:pt x="524148" y="118103"/>
                    <a:pt x="520441" y="117044"/>
                  </a:cubicBezTo>
                  <a:cubicBezTo>
                    <a:pt x="515608" y="115663"/>
                    <a:pt x="510644" y="114767"/>
                    <a:pt x="505811" y="113386"/>
                  </a:cubicBezTo>
                  <a:cubicBezTo>
                    <a:pt x="502104" y="112327"/>
                    <a:pt x="498688" y="109936"/>
                    <a:pt x="494838" y="109728"/>
                  </a:cubicBezTo>
                  <a:cubicBezTo>
                    <a:pt x="453428" y="107490"/>
                    <a:pt x="411933" y="107290"/>
                    <a:pt x="370480" y="106071"/>
                  </a:cubicBezTo>
                  <a:cubicBezTo>
                    <a:pt x="342899" y="96876"/>
                    <a:pt x="376896" y="109279"/>
                    <a:pt x="348534" y="95098"/>
                  </a:cubicBezTo>
                  <a:cubicBezTo>
                    <a:pt x="343283" y="92473"/>
                    <a:pt x="327624" y="88956"/>
                    <a:pt x="322931" y="87783"/>
                  </a:cubicBezTo>
                  <a:cubicBezTo>
                    <a:pt x="319273" y="84125"/>
                    <a:pt x="316449" y="79376"/>
                    <a:pt x="311958" y="76810"/>
                  </a:cubicBezTo>
                  <a:cubicBezTo>
                    <a:pt x="307594" y="74316"/>
                    <a:pt x="302161" y="74533"/>
                    <a:pt x="297328" y="73152"/>
                  </a:cubicBezTo>
                  <a:cubicBezTo>
                    <a:pt x="293621" y="72093"/>
                    <a:pt x="290013" y="70714"/>
                    <a:pt x="286355" y="69495"/>
                  </a:cubicBezTo>
                  <a:cubicBezTo>
                    <a:pt x="282697" y="67057"/>
                    <a:pt x="279399" y="63965"/>
                    <a:pt x="275382" y="62180"/>
                  </a:cubicBezTo>
                  <a:cubicBezTo>
                    <a:pt x="268336" y="59048"/>
                    <a:pt x="260751" y="57303"/>
                    <a:pt x="253436" y="54864"/>
                  </a:cubicBezTo>
                  <a:lnTo>
                    <a:pt x="242464" y="51207"/>
                  </a:lnTo>
                  <a:cubicBezTo>
                    <a:pt x="238806" y="49988"/>
                    <a:pt x="235231" y="48484"/>
                    <a:pt x="231491" y="47549"/>
                  </a:cubicBezTo>
                  <a:lnTo>
                    <a:pt x="216860" y="43892"/>
                  </a:lnTo>
                  <a:cubicBezTo>
                    <a:pt x="213203" y="41453"/>
                    <a:pt x="209905" y="38361"/>
                    <a:pt x="205888" y="36576"/>
                  </a:cubicBezTo>
                  <a:cubicBezTo>
                    <a:pt x="198842" y="33444"/>
                    <a:pt x="190358" y="33538"/>
                    <a:pt x="183942" y="29261"/>
                  </a:cubicBezTo>
                  <a:cubicBezTo>
                    <a:pt x="157208" y="11439"/>
                    <a:pt x="190823" y="33193"/>
                    <a:pt x="158339" y="14631"/>
                  </a:cubicBezTo>
                  <a:cubicBezTo>
                    <a:pt x="154522" y="12450"/>
                    <a:pt x="151383" y="9101"/>
                    <a:pt x="147366" y="7316"/>
                  </a:cubicBezTo>
                  <a:cubicBezTo>
                    <a:pt x="140320" y="4184"/>
                    <a:pt x="125420" y="0"/>
                    <a:pt x="125420" y="0"/>
                  </a:cubicBezTo>
                  <a:cubicBezTo>
                    <a:pt x="113228" y="1219"/>
                    <a:pt x="100783" y="903"/>
                    <a:pt x="88844" y="3658"/>
                  </a:cubicBezTo>
                  <a:cubicBezTo>
                    <a:pt x="84561" y="4646"/>
                    <a:pt x="81912" y="9241"/>
                    <a:pt x="77872" y="10973"/>
                  </a:cubicBezTo>
                  <a:cubicBezTo>
                    <a:pt x="73251" y="12953"/>
                    <a:pt x="68118" y="13412"/>
                    <a:pt x="63241" y="14631"/>
                  </a:cubicBezTo>
                  <a:cubicBezTo>
                    <a:pt x="59583" y="17069"/>
                    <a:pt x="56384" y="20402"/>
                    <a:pt x="52268" y="21946"/>
                  </a:cubicBezTo>
                  <a:cubicBezTo>
                    <a:pt x="46447" y="24129"/>
                    <a:pt x="39540" y="22824"/>
                    <a:pt x="33980" y="25604"/>
                  </a:cubicBezTo>
                  <a:cubicBezTo>
                    <a:pt x="29354" y="27917"/>
                    <a:pt x="26665" y="32919"/>
                    <a:pt x="23008" y="36576"/>
                  </a:cubicBezTo>
                  <a:cubicBezTo>
                    <a:pt x="21789" y="41453"/>
                    <a:pt x="20731" y="46373"/>
                    <a:pt x="19350" y="51207"/>
                  </a:cubicBezTo>
                  <a:cubicBezTo>
                    <a:pt x="18291" y="54914"/>
                    <a:pt x="15692" y="58324"/>
                    <a:pt x="15692" y="62180"/>
                  </a:cubicBezTo>
                  <a:cubicBezTo>
                    <a:pt x="15692" y="92115"/>
                    <a:pt x="23513" y="71015"/>
                    <a:pt x="33980" y="102413"/>
                  </a:cubicBezTo>
                  <a:lnTo>
                    <a:pt x="37638" y="113386"/>
                  </a:lnTo>
                  <a:cubicBezTo>
                    <a:pt x="36967" y="119420"/>
                    <a:pt x="36279" y="146557"/>
                    <a:pt x="30323" y="157277"/>
                  </a:cubicBezTo>
                  <a:cubicBezTo>
                    <a:pt x="26053" y="164963"/>
                    <a:pt x="20569" y="171908"/>
                    <a:pt x="15692" y="179223"/>
                  </a:cubicBezTo>
                  <a:lnTo>
                    <a:pt x="8377" y="190196"/>
                  </a:lnTo>
                  <a:cubicBezTo>
                    <a:pt x="7158" y="193853"/>
                    <a:pt x="5655" y="197428"/>
                    <a:pt x="4720" y="201168"/>
                  </a:cubicBezTo>
                  <a:cubicBezTo>
                    <a:pt x="-1454" y="225865"/>
                    <a:pt x="-1693" y="241802"/>
                    <a:pt x="4720" y="270663"/>
                  </a:cubicBezTo>
                  <a:cubicBezTo>
                    <a:pt x="6042" y="276614"/>
                    <a:pt x="12149" y="280333"/>
                    <a:pt x="15692" y="285293"/>
                  </a:cubicBezTo>
                  <a:cubicBezTo>
                    <a:pt x="18247" y="288870"/>
                    <a:pt x="20569" y="292608"/>
                    <a:pt x="23008" y="296266"/>
                  </a:cubicBezTo>
                  <a:cubicBezTo>
                    <a:pt x="31392" y="321422"/>
                    <a:pt x="19925" y="290873"/>
                    <a:pt x="37638" y="321869"/>
                  </a:cubicBezTo>
                  <a:cubicBezTo>
                    <a:pt x="45954" y="336422"/>
                    <a:pt x="35423" y="331646"/>
                    <a:pt x="48611" y="347472"/>
                  </a:cubicBezTo>
                  <a:cubicBezTo>
                    <a:pt x="51425" y="350849"/>
                    <a:pt x="56276" y="351893"/>
                    <a:pt x="59584" y="354788"/>
                  </a:cubicBezTo>
                  <a:cubicBezTo>
                    <a:pt x="66072" y="360465"/>
                    <a:pt x="73090" y="365903"/>
                    <a:pt x="77872" y="373076"/>
                  </a:cubicBezTo>
                  <a:cubicBezTo>
                    <a:pt x="80455" y="376951"/>
                    <a:pt x="87292" y="388759"/>
                    <a:pt x="92502" y="391364"/>
                  </a:cubicBezTo>
                  <a:cubicBezTo>
                    <a:pt x="99399" y="394813"/>
                    <a:pt x="114448" y="398679"/>
                    <a:pt x="114448" y="398679"/>
                  </a:cubicBezTo>
                  <a:cubicBezTo>
                    <a:pt x="123116" y="411681"/>
                    <a:pt x="114448" y="407823"/>
                    <a:pt x="114448" y="409652"/>
                  </a:cubicBezTo>
                  <a:close/>
                </a:path>
              </a:pathLst>
            </a:custGeom>
            <a:solidFill>
              <a:schemeClr val="accent2">
                <a:lumMod val="75000"/>
                <a:alpha val="87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3" name="Скругленный прямоугольник 32"/>
            <p:cNvSpPr/>
            <p:nvPr/>
          </p:nvSpPr>
          <p:spPr>
            <a:xfrm>
              <a:off x="2912760" y="3096355"/>
              <a:ext cx="402508" cy="442674"/>
            </a:xfrm>
            <a:prstGeom prst="round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III</a:t>
              </a:r>
              <a:endPara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4" name="Скругленный прямоугольник 33"/>
            <p:cNvSpPr/>
            <p:nvPr/>
          </p:nvSpPr>
          <p:spPr>
            <a:xfrm>
              <a:off x="3384156" y="4440896"/>
              <a:ext cx="424230" cy="438805"/>
            </a:xfrm>
            <a:prstGeom prst="round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/>
              <a:r>
                <a:rPr lang="en-US" sz="20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V</a:t>
              </a:r>
              <a:r>
                <a:rPr lang="en-US" sz="2000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I</a:t>
              </a:r>
              <a:endPara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5" name="Скругленный прямоугольник 34"/>
            <p:cNvSpPr/>
            <p:nvPr/>
          </p:nvSpPr>
          <p:spPr>
            <a:xfrm>
              <a:off x="4049452" y="4985067"/>
              <a:ext cx="424230" cy="438805"/>
            </a:xfrm>
            <a:prstGeom prst="round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20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IV</a:t>
              </a:r>
              <a:endParaRPr lang="ru-RU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36" name="Скругленный прямоугольник 35"/>
            <p:cNvSpPr/>
            <p:nvPr/>
          </p:nvSpPr>
          <p:spPr>
            <a:xfrm>
              <a:off x="2991100" y="5688037"/>
              <a:ext cx="268159" cy="423327"/>
            </a:xfrm>
            <a:prstGeom prst="round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r"/>
              <a:r>
                <a:rPr lang="en-US" sz="20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I</a:t>
              </a:r>
              <a:endPara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7" name="Скругленный прямоугольник 36"/>
            <p:cNvSpPr/>
            <p:nvPr/>
          </p:nvSpPr>
          <p:spPr>
            <a:xfrm>
              <a:off x="3022130" y="4417857"/>
              <a:ext cx="332006" cy="431066"/>
            </a:xfrm>
            <a:prstGeom prst="round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20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Narrow" panose="020B0606020202030204" pitchFamily="34" charset="0"/>
                </a:rPr>
                <a:t>II</a:t>
              </a:r>
              <a:endParaRPr lang="ru-RU" sz="2000" dirty="0">
                <a:latin typeface="Arial Narrow" panose="020B0606020202030204" pitchFamily="34" charset="0"/>
              </a:endParaRPr>
            </a:p>
          </p:txBody>
        </p:sp>
      </p:grpSp>
      <p:graphicFrame>
        <p:nvGraphicFramePr>
          <p:cNvPr id="38" name="Диаграмма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40803944"/>
              </p:ext>
            </p:extLst>
          </p:nvPr>
        </p:nvGraphicFramePr>
        <p:xfrm>
          <a:off x="5690621" y="1186580"/>
          <a:ext cx="3191735" cy="5083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45" name="Скругленный прямоугольник 44"/>
          <p:cNvSpPr/>
          <p:nvPr/>
        </p:nvSpPr>
        <p:spPr>
          <a:xfrm>
            <a:off x="1418987" y="1231067"/>
            <a:ext cx="3930338" cy="885349"/>
          </a:xfrm>
          <a:prstGeom prst="roundRect">
            <a:avLst/>
          </a:prstGeom>
          <a:ln w="28575">
            <a:solidFill>
              <a:schemeClr val="accent5">
                <a:lumMod val="50000"/>
              </a:schemeClr>
            </a:solidFill>
            <a:prstDash val="sysDash"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 </a:t>
            </a:r>
            <a:r>
              <a:rPr lang="ru-RU" sz="1400" b="1" u="sng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400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ран </a:t>
            </a:r>
            <a:r>
              <a:rPr lang="ru-RU" sz="1400" b="1" u="sng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ы</a:t>
            </a:r>
            <a:r>
              <a:rPr lang="ru-RU" sz="1400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ресурсы</a:t>
            </a:r>
            <a:endParaRPr lang="ru-RU" sz="1400" b="1" u="sng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1.2017 ж. </a:t>
            </a:r>
            <a:r>
              <a:rPr lang="ru-RU" sz="1400" b="1" u="sng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</a:t>
            </a:r>
            <a:r>
              <a:rPr lang="ru-RU" sz="1400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u="sng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u="sng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мамен</a:t>
            </a:r>
            <a:r>
              <a:rPr lang="ru-RU" sz="1400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u="sng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4 млн. </a:t>
            </a:r>
            <a:r>
              <a:rPr lang="ru-RU" sz="1600" b="1" u="sng" dirty="0" err="1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ннаны</a:t>
            </a:r>
            <a:r>
              <a:rPr lang="ru-RU" sz="1600" b="1" u="sng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400" b="1" u="sng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4300" y="1019842"/>
            <a:ext cx="1161147" cy="1202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58651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0" y="6568066"/>
            <a:ext cx="9144000" cy="295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400" dirty="0" smtClean="0">
              <a:solidFill>
                <a:prstClr val="white">
                  <a:lumMod val="9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7" name="Group 109"/>
          <p:cNvGrpSpPr/>
          <p:nvPr/>
        </p:nvGrpSpPr>
        <p:grpSpPr>
          <a:xfrm>
            <a:off x="6439987" y="3633297"/>
            <a:ext cx="2426457" cy="926794"/>
            <a:chOff x="259158" y="1607407"/>
            <a:chExt cx="3235276" cy="926794"/>
          </a:xfrm>
        </p:grpSpPr>
        <p:sp>
          <p:nvSpPr>
            <p:cNvPr id="108" name="Скругленный прямоугольник 100"/>
            <p:cNvSpPr/>
            <p:nvPr/>
          </p:nvSpPr>
          <p:spPr>
            <a:xfrm>
              <a:off x="270981" y="1607407"/>
              <a:ext cx="3146488" cy="386801"/>
            </a:xfrm>
            <a:prstGeom prst="rect">
              <a:avLst/>
            </a:prstGeom>
            <a:solidFill>
              <a:srgbClr val="DCE6F2"/>
            </a:solidFill>
            <a:ln w="571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57150" cap="flat" cmpd="sng" algn="ctr">
                  <a:solidFill>
                    <a:srgbClr val="DCE6F2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</a:t>
              </a:r>
              <a:r>
                <a:rPr lang="ru-RU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Канада</a:t>
              </a:r>
              <a:endPara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09" name="Скругленный прямоугольник 94"/>
            <p:cNvSpPr/>
            <p:nvPr/>
          </p:nvSpPr>
          <p:spPr>
            <a:xfrm>
              <a:off x="259158" y="1998695"/>
              <a:ext cx="3235276" cy="535506"/>
            </a:xfrm>
            <a:prstGeom prst="rect">
              <a:avLst/>
            </a:prstGeom>
            <a:noFill/>
            <a:ln w="571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57150" cap="flat" cmpd="sng" algn="ctr">
                  <a:solidFill>
                    <a:srgbClr val="DCE6F2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kk-KZ" sz="11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kk-KZ" sz="11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кай</a:t>
              </a:r>
              <a:r>
                <a:rPr lang="kk-KZ" sz="11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 </a:t>
              </a:r>
              <a:r>
                <a:rPr lang="ru-RU" sz="11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К» ЖШС</a:t>
              </a:r>
              <a:r>
                <a:rPr lang="en-US" sz="11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1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1996</a:t>
              </a:r>
              <a:r>
                <a:rPr lang="en-US" sz="11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en-US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0" name="Рисунок 2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8277281" y="4191929"/>
            <a:ext cx="484356" cy="200817"/>
          </a:xfrm>
          <a:prstGeom prst="rect">
            <a:avLst/>
          </a:prstGeom>
        </p:spPr>
      </p:pic>
      <p:sp>
        <p:nvSpPr>
          <p:cNvPr id="111" name="Скругленный прямоугольник 100"/>
          <p:cNvSpPr/>
          <p:nvPr/>
        </p:nvSpPr>
        <p:spPr>
          <a:xfrm>
            <a:off x="6448854" y="4669485"/>
            <a:ext cx="2359865" cy="513592"/>
          </a:xfrm>
          <a:prstGeom prst="rect">
            <a:avLst/>
          </a:prstGeom>
          <a:solidFill>
            <a:srgbClr val="DCE6F2"/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-Қытай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12" name="Скругленный прямоугольник 94"/>
          <p:cNvSpPr/>
          <p:nvPr/>
        </p:nvSpPr>
        <p:spPr>
          <a:xfrm>
            <a:off x="6390984" y="5094226"/>
            <a:ext cx="2359865" cy="496370"/>
          </a:xfrm>
          <a:prstGeom prst="rect">
            <a:avLst/>
          </a:prstGeom>
          <a:noFill/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1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мізбай</a:t>
            </a:r>
            <a:r>
              <a:rPr lang="ru-RU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Ю» ЖШС</a:t>
            </a:r>
            <a:r>
              <a:rPr lang="en-US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06)</a:t>
            </a:r>
          </a:p>
        </p:txBody>
      </p:sp>
      <p:pic>
        <p:nvPicPr>
          <p:cNvPr id="113" name="Рисунок 7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8454058" y="5207021"/>
            <a:ext cx="231821" cy="305132"/>
          </a:xfrm>
          <a:prstGeom prst="rect">
            <a:avLst/>
          </a:prstGeom>
        </p:spPr>
      </p:pic>
      <p:sp>
        <p:nvSpPr>
          <p:cNvPr id="114" name="Скругленный прямоугольник 100"/>
          <p:cNvSpPr/>
          <p:nvPr/>
        </p:nvSpPr>
        <p:spPr>
          <a:xfrm>
            <a:off x="3471808" y="4142248"/>
            <a:ext cx="2430558" cy="479871"/>
          </a:xfrm>
          <a:prstGeom prst="rect">
            <a:avLst/>
          </a:prstGeom>
          <a:noFill/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ылқұм</a:t>
            </a:r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ЖШС(2005)</a:t>
            </a:r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grpSp>
        <p:nvGrpSpPr>
          <p:cNvPr id="115" name="Group 113"/>
          <p:cNvGrpSpPr/>
          <p:nvPr/>
        </p:nvGrpSpPr>
        <p:grpSpPr>
          <a:xfrm>
            <a:off x="3467152" y="3631332"/>
            <a:ext cx="2781248" cy="1325403"/>
            <a:chOff x="248151" y="4518284"/>
            <a:chExt cx="3393931" cy="1325403"/>
          </a:xfrm>
        </p:grpSpPr>
        <p:sp>
          <p:nvSpPr>
            <p:cNvPr id="116" name="Скругленный прямоугольник 100"/>
            <p:cNvSpPr/>
            <p:nvPr/>
          </p:nvSpPr>
          <p:spPr>
            <a:xfrm>
              <a:off x="253831" y="4518284"/>
              <a:ext cx="3388251" cy="513592"/>
            </a:xfrm>
            <a:prstGeom prst="rect">
              <a:avLst/>
            </a:prstGeom>
            <a:solidFill>
              <a:srgbClr val="DCE6F2"/>
            </a:solidFill>
            <a:ln w="571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57150" cap="flat" cmpd="sng" algn="ctr">
                  <a:solidFill>
                    <a:srgbClr val="DCE6F2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-Ресей</a:t>
              </a:r>
              <a:r>
                <a:rPr lang="ru-RU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</a:t>
              </a:r>
              <a:r>
                <a:rPr lang="ru-RU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пония</a:t>
              </a:r>
              <a:endPara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117" name="Скругленный прямоугольник 100"/>
            <p:cNvSpPr/>
            <p:nvPr/>
          </p:nvSpPr>
          <p:spPr>
            <a:xfrm>
              <a:off x="248151" y="5509070"/>
              <a:ext cx="3146487" cy="334617"/>
            </a:xfrm>
            <a:prstGeom prst="rect">
              <a:avLst/>
            </a:prstGeom>
            <a:noFill/>
            <a:ln w="5715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xmlns="" w="57150" cap="flat" cmpd="sng" algn="ctr">
                  <a:solidFill>
                    <a:srgbClr val="DCE6F2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2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ru-RU" sz="12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орасан-Ю</a:t>
              </a:r>
              <a:r>
                <a:rPr lang="ru-RU" sz="12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 БК </a:t>
              </a:r>
              <a:r>
                <a:rPr lang="en-US" sz="12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2014) </a:t>
              </a:r>
            </a:p>
          </p:txBody>
        </p:sp>
      </p:grpSp>
      <p:pic>
        <p:nvPicPr>
          <p:cNvPr id="118" name="Рисунок 2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589439" y="4279832"/>
            <a:ext cx="522561" cy="200712"/>
          </a:xfrm>
          <a:prstGeom prst="rect">
            <a:avLst/>
          </a:prstGeom>
        </p:spPr>
      </p:pic>
      <p:pic>
        <p:nvPicPr>
          <p:cNvPr id="119" name="Рисунок 9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23490" y="4661669"/>
            <a:ext cx="445664" cy="258766"/>
          </a:xfrm>
          <a:prstGeom prst="rect">
            <a:avLst/>
          </a:prstGeom>
        </p:spPr>
      </p:pic>
      <p:pic>
        <p:nvPicPr>
          <p:cNvPr id="132" name="Рисунок 131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8198"/>
          <a:stretch/>
        </p:blipFill>
        <p:spPr>
          <a:xfrm>
            <a:off x="8191452" y="4770916"/>
            <a:ext cx="543103" cy="281211"/>
          </a:xfrm>
          <a:prstGeom prst="rect">
            <a:avLst/>
          </a:prstGeom>
        </p:spPr>
      </p:pic>
      <p:pic>
        <p:nvPicPr>
          <p:cNvPr id="133" name="Picture 4" descr="Картинки по запросу cameco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8285588" y="3652830"/>
            <a:ext cx="394866" cy="337610"/>
          </a:xfrm>
          <a:prstGeom prst="rect">
            <a:avLst/>
          </a:prstGeom>
          <a:noFill/>
        </p:spPr>
      </p:pic>
      <p:pic>
        <p:nvPicPr>
          <p:cNvPr id="134" name="Picture 10" descr="Картинки по запросу marubeni logo"/>
          <p:cNvPicPr>
            <a:picLocks noChangeAspect="1" noChangeArrowheads="1"/>
          </p:cNvPicPr>
          <p:nvPr/>
        </p:nvPicPr>
        <p:blipFill>
          <a:blip r:embed="rId8" cstate="screen"/>
          <a:srcRect t="36290" b="34189"/>
          <a:stretch>
            <a:fillRect/>
          </a:stretch>
        </p:blipFill>
        <p:spPr bwMode="auto">
          <a:xfrm>
            <a:off x="5520163" y="3672930"/>
            <a:ext cx="498261" cy="202301"/>
          </a:xfrm>
          <a:prstGeom prst="rect">
            <a:avLst/>
          </a:prstGeom>
          <a:noFill/>
        </p:spPr>
      </p:pic>
      <p:pic>
        <p:nvPicPr>
          <p:cNvPr id="135" name="Picture 12" descr="Картинки по запросу uraniumone logo"/>
          <p:cNvPicPr>
            <a:picLocks noChangeAspect="1" noChangeArrowheads="1"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5260664" y="3850232"/>
            <a:ext cx="878681" cy="287622"/>
          </a:xfrm>
          <a:prstGeom prst="rect">
            <a:avLst/>
          </a:prstGeom>
          <a:noFill/>
        </p:spPr>
      </p:pic>
      <p:sp>
        <p:nvSpPr>
          <p:cNvPr id="136" name="Rectangle 107"/>
          <p:cNvSpPr/>
          <p:nvPr/>
        </p:nvSpPr>
        <p:spPr>
          <a:xfrm>
            <a:off x="6444521" y="3637009"/>
            <a:ext cx="2359865" cy="990786"/>
          </a:xfrm>
          <a:prstGeom prst="rect">
            <a:avLst/>
          </a:prstGeom>
          <a:noFill/>
          <a:ln w="9525"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Скругленный прямоугольник 100"/>
          <p:cNvSpPr/>
          <p:nvPr/>
        </p:nvSpPr>
        <p:spPr>
          <a:xfrm>
            <a:off x="528501" y="5196563"/>
            <a:ext cx="2600690" cy="492817"/>
          </a:xfrm>
          <a:prstGeom prst="rect">
            <a:avLst/>
          </a:prstGeom>
          <a:noFill/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тау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БК» ЖШС</a:t>
            </a:r>
            <a:r>
              <a:rPr lang="en-US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05</a:t>
            </a:r>
            <a:r>
              <a:rPr lang="en-US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38" name="Скругленный прямоугольник 100"/>
          <p:cNvSpPr/>
          <p:nvPr/>
        </p:nvSpPr>
        <p:spPr>
          <a:xfrm>
            <a:off x="528529" y="5681476"/>
            <a:ext cx="2600690" cy="477011"/>
          </a:xfrm>
          <a:prstGeom prst="rect">
            <a:avLst/>
          </a:prstGeom>
          <a:noFill/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бастау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К» ЖШС</a:t>
            </a:r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06)</a:t>
            </a:r>
            <a:endParaRPr lang="ru-RU" sz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39" name="Скругленный прямоугольник 100"/>
          <p:cNvSpPr/>
          <p:nvPr/>
        </p:nvSpPr>
        <p:spPr>
          <a:xfrm>
            <a:off x="503634" y="4844789"/>
            <a:ext cx="2676603" cy="382334"/>
          </a:xfrm>
          <a:prstGeom prst="rect">
            <a:avLst/>
          </a:prstGeom>
          <a:solidFill>
            <a:srgbClr val="DCE6F2"/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-Ресей</a:t>
            </a:r>
            <a:endParaRPr lang="ru-RU" sz="1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40" name="Скругленный прямоугольник 100"/>
          <p:cNvSpPr/>
          <p:nvPr/>
        </p:nvSpPr>
        <p:spPr>
          <a:xfrm>
            <a:off x="528529" y="6158487"/>
            <a:ext cx="2600690" cy="336761"/>
          </a:xfrm>
          <a:prstGeom prst="rect">
            <a:avLst/>
          </a:prstGeom>
          <a:noFill/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ТХК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К» </a:t>
            </a:r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ШС</a:t>
            </a:r>
            <a:r>
              <a:rPr lang="en-US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14</a:t>
            </a:r>
            <a:r>
              <a:rPr lang="en-US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en-US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1" name="Рисунок 79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2806435" y="5289183"/>
            <a:ext cx="236654" cy="294980"/>
          </a:xfrm>
          <a:prstGeom prst="rect">
            <a:avLst/>
          </a:prstGeom>
        </p:spPr>
      </p:pic>
      <p:pic>
        <p:nvPicPr>
          <p:cNvPr id="142" name="Рисунок 82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29205" y="5775452"/>
            <a:ext cx="217016" cy="271506"/>
          </a:xfrm>
          <a:prstGeom prst="rect">
            <a:avLst/>
          </a:prstGeom>
        </p:spPr>
      </p:pic>
      <p:pic>
        <p:nvPicPr>
          <p:cNvPr id="143" name="Рисунок 8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28787" y="6226353"/>
            <a:ext cx="237768" cy="150586"/>
          </a:xfrm>
          <a:prstGeom prst="rect">
            <a:avLst/>
          </a:prstGeom>
        </p:spPr>
      </p:pic>
      <p:sp>
        <p:nvSpPr>
          <p:cNvPr id="144" name="Rectangle 112"/>
          <p:cNvSpPr/>
          <p:nvPr/>
        </p:nvSpPr>
        <p:spPr>
          <a:xfrm>
            <a:off x="504040" y="4840190"/>
            <a:ext cx="2676198" cy="1610165"/>
          </a:xfrm>
          <a:prstGeom prst="rect">
            <a:avLst/>
          </a:prstGeom>
          <a:noFill/>
          <a:ln w="9525"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Rectangle 114"/>
          <p:cNvSpPr/>
          <p:nvPr/>
        </p:nvSpPr>
        <p:spPr>
          <a:xfrm>
            <a:off x="3471807" y="3631332"/>
            <a:ext cx="2776593" cy="1325404"/>
          </a:xfrm>
          <a:prstGeom prst="rect">
            <a:avLst/>
          </a:prstGeom>
          <a:noFill/>
          <a:ln w="9525"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Скругленный прямоугольник 81"/>
          <p:cNvSpPr/>
          <p:nvPr/>
        </p:nvSpPr>
        <p:spPr>
          <a:xfrm>
            <a:off x="496501" y="4199388"/>
            <a:ext cx="2600717" cy="376928"/>
          </a:xfrm>
          <a:prstGeom prst="rect">
            <a:avLst/>
          </a:prstGeom>
          <a:noFill/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чное</a:t>
            </a:r>
            <a:r>
              <a:rPr lang="ru-RU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БК» ЖШС</a:t>
            </a:r>
            <a:r>
              <a:rPr lang="en-US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01)</a:t>
            </a:r>
            <a:endParaRPr lang="en-US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7" name="Рисунок 89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679538" y="4242995"/>
            <a:ext cx="314070" cy="311702"/>
          </a:xfrm>
          <a:prstGeom prst="rect">
            <a:avLst/>
          </a:prstGeom>
        </p:spPr>
      </p:pic>
      <p:sp>
        <p:nvSpPr>
          <p:cNvPr id="148" name="Скругленный прямоугольник 100"/>
          <p:cNvSpPr/>
          <p:nvPr/>
        </p:nvSpPr>
        <p:spPr>
          <a:xfrm>
            <a:off x="510099" y="3641303"/>
            <a:ext cx="2670138" cy="440351"/>
          </a:xfrm>
          <a:prstGeom prst="rect">
            <a:avLst/>
          </a:prstGeom>
          <a:solidFill>
            <a:srgbClr val="DCE6F2"/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kk-KZ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й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  <a:p>
            <a:r>
              <a:rPr lang="ru-RU" sz="1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</a:t>
            </a:r>
            <a:r>
              <a:rPr 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рғызстан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49" name="Rectangle 115"/>
          <p:cNvSpPr/>
          <p:nvPr/>
        </p:nvSpPr>
        <p:spPr>
          <a:xfrm>
            <a:off x="504039" y="3633873"/>
            <a:ext cx="2676198" cy="1073521"/>
          </a:xfrm>
          <a:prstGeom prst="rect">
            <a:avLst/>
          </a:prstGeom>
          <a:noFill/>
          <a:ln w="9525"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Rectangle 118"/>
          <p:cNvSpPr/>
          <p:nvPr/>
        </p:nvSpPr>
        <p:spPr>
          <a:xfrm>
            <a:off x="6448855" y="4668613"/>
            <a:ext cx="2359865" cy="880703"/>
          </a:xfrm>
          <a:prstGeom prst="rect">
            <a:avLst/>
          </a:prstGeom>
          <a:noFill/>
          <a:ln w="9525"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Скругленный прямоугольник 100"/>
          <p:cNvSpPr/>
          <p:nvPr/>
        </p:nvSpPr>
        <p:spPr>
          <a:xfrm>
            <a:off x="6448854" y="5584163"/>
            <a:ext cx="2359865" cy="513592"/>
          </a:xfrm>
          <a:prstGeom prst="rect">
            <a:avLst/>
          </a:prstGeom>
          <a:solidFill>
            <a:srgbClr val="DCE6F2"/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Франция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152" name="Скругленный прямоугольник 70"/>
          <p:cNvSpPr/>
          <p:nvPr/>
        </p:nvSpPr>
        <p:spPr>
          <a:xfrm>
            <a:off x="6390984" y="6052372"/>
            <a:ext cx="2359865" cy="447990"/>
          </a:xfrm>
          <a:prstGeom prst="rect">
            <a:avLst/>
          </a:prstGeom>
          <a:noFill/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КО»</a:t>
            </a:r>
            <a:r>
              <a:rPr lang="en-US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К» ЖШС</a:t>
            </a:r>
            <a:r>
              <a:rPr lang="en-US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96)</a:t>
            </a:r>
            <a:endParaRPr lang="ru-RU" sz="11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3" name="Рисунок 77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53039" y="6128579"/>
            <a:ext cx="332840" cy="282914"/>
          </a:xfrm>
          <a:prstGeom prst="rect">
            <a:avLst/>
          </a:prstGeom>
        </p:spPr>
      </p:pic>
      <p:pic>
        <p:nvPicPr>
          <p:cNvPr id="154" name="Picture 8" descr="Картинки по запросу areva logo"/>
          <p:cNvPicPr>
            <a:picLocks noChangeAspect="1" noChangeArrowheads="1"/>
          </p:cNvPicPr>
          <p:nvPr/>
        </p:nvPicPr>
        <p:blipFill>
          <a:blip r:embed="rId15" cstate="screen"/>
          <a:srcRect/>
          <a:stretch>
            <a:fillRect/>
          </a:stretch>
        </p:blipFill>
        <p:spPr bwMode="auto">
          <a:xfrm>
            <a:off x="8326578" y="5715385"/>
            <a:ext cx="344450" cy="227856"/>
          </a:xfrm>
          <a:prstGeom prst="rect">
            <a:avLst/>
          </a:prstGeom>
          <a:noFill/>
        </p:spPr>
      </p:pic>
      <p:sp>
        <p:nvSpPr>
          <p:cNvPr id="155" name="Rectangle 119"/>
          <p:cNvSpPr/>
          <p:nvPr/>
        </p:nvSpPr>
        <p:spPr>
          <a:xfrm>
            <a:off x="6448854" y="5584510"/>
            <a:ext cx="2359865" cy="880703"/>
          </a:xfrm>
          <a:prstGeom prst="rect">
            <a:avLst/>
          </a:prstGeom>
          <a:noFill/>
          <a:ln w="9525"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Скругленный прямоугольник 100"/>
          <p:cNvSpPr/>
          <p:nvPr/>
        </p:nvSpPr>
        <p:spPr>
          <a:xfrm>
            <a:off x="3471412" y="5676085"/>
            <a:ext cx="2359865" cy="311791"/>
          </a:xfrm>
          <a:prstGeom prst="rect">
            <a:avLst/>
          </a:prstGeom>
          <a:noFill/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АППАҚ»</a:t>
            </a:r>
            <a:r>
              <a:rPr lang="en-US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ШС </a:t>
            </a:r>
            <a:r>
              <a:rPr lang="en-US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05) </a:t>
            </a:r>
            <a:endParaRPr lang="en-US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Скругленный прямоугольник 100"/>
          <p:cNvSpPr/>
          <p:nvPr/>
        </p:nvSpPr>
        <p:spPr>
          <a:xfrm>
            <a:off x="3465988" y="5987876"/>
            <a:ext cx="2318470" cy="474746"/>
          </a:xfrm>
          <a:prstGeom prst="rect">
            <a:avLst/>
          </a:prstGeom>
          <a:noFill/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кен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Ю»</a:t>
            </a:r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ШС </a:t>
            </a:r>
            <a:r>
              <a:rPr lang="en-US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06</a:t>
            </a:r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Скругленный прямоугольник 100"/>
          <p:cNvSpPr/>
          <p:nvPr/>
        </p:nvSpPr>
        <p:spPr>
          <a:xfrm>
            <a:off x="3471412" y="5192225"/>
            <a:ext cx="2776988" cy="513592"/>
          </a:xfrm>
          <a:prstGeom prst="rect">
            <a:avLst/>
          </a:prstGeom>
          <a:solidFill>
            <a:srgbClr val="DCE6F2"/>
          </a:solidFill>
          <a:ln w="571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xmlns="" w="57150" cap="flat" cmpd="sng" algn="ctr">
                <a:solidFill>
                  <a:srgbClr val="DCE6F2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-Жапония</a:t>
            </a:r>
            <a:endParaRPr lang="ru-RU" sz="14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159" name="Рисунок 7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63897" y="5732809"/>
            <a:ext cx="488573" cy="211127"/>
          </a:xfrm>
          <a:prstGeom prst="rect">
            <a:avLst/>
          </a:prstGeom>
        </p:spPr>
      </p:pic>
      <p:pic>
        <p:nvPicPr>
          <p:cNvPr id="160" name="Рисунок 8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11611" y="6067502"/>
            <a:ext cx="264728" cy="309437"/>
          </a:xfrm>
          <a:prstGeom prst="rect">
            <a:avLst/>
          </a:prstGeom>
        </p:spPr>
      </p:pic>
      <p:pic>
        <p:nvPicPr>
          <p:cNvPr id="161" name="Рисунок 160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987018" y="5166982"/>
            <a:ext cx="456381" cy="294955"/>
          </a:xfrm>
          <a:prstGeom prst="rect">
            <a:avLst/>
          </a:prstGeom>
        </p:spPr>
      </p:pic>
      <p:pic>
        <p:nvPicPr>
          <p:cNvPr id="162" name="Рисунок 161"/>
          <p:cNvPicPr>
            <a:picLocks noChangeAspect="1"/>
          </p:cNvPicPr>
          <p:nvPr/>
        </p:nvPicPr>
        <p:blipFill>
          <a:blip r:embed="rId1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43854" y="5246337"/>
            <a:ext cx="518010" cy="195097"/>
          </a:xfrm>
          <a:prstGeom prst="rect">
            <a:avLst/>
          </a:prstGeom>
        </p:spPr>
      </p:pic>
      <p:pic>
        <p:nvPicPr>
          <p:cNvPr id="163" name="Picture 10" descr="Картинки по запросу marubeni logo"/>
          <p:cNvPicPr>
            <a:picLocks noChangeAspect="1" noChangeArrowheads="1"/>
          </p:cNvPicPr>
          <p:nvPr/>
        </p:nvPicPr>
        <p:blipFill>
          <a:blip r:embed="rId8" cstate="screen"/>
          <a:srcRect t="36290" b="34189"/>
          <a:stretch>
            <a:fillRect/>
          </a:stretch>
        </p:blipFill>
        <p:spPr bwMode="auto">
          <a:xfrm>
            <a:off x="5607891" y="5521476"/>
            <a:ext cx="588950" cy="173862"/>
          </a:xfrm>
          <a:prstGeom prst="rect">
            <a:avLst/>
          </a:prstGeom>
          <a:noFill/>
        </p:spPr>
      </p:pic>
      <p:sp>
        <p:nvSpPr>
          <p:cNvPr id="164" name="Rectangle 121"/>
          <p:cNvSpPr/>
          <p:nvPr/>
        </p:nvSpPr>
        <p:spPr>
          <a:xfrm>
            <a:off x="3467152" y="5188893"/>
            <a:ext cx="2781248" cy="1273729"/>
          </a:xfrm>
          <a:prstGeom prst="rect">
            <a:avLst/>
          </a:prstGeom>
          <a:noFill/>
          <a:ln w="9525"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5" name="Straight Connector 126"/>
          <p:cNvCxnSpPr/>
          <p:nvPr/>
        </p:nvCxnSpPr>
        <p:spPr>
          <a:xfrm>
            <a:off x="3647544" y="4635013"/>
            <a:ext cx="2217688" cy="0"/>
          </a:xfrm>
          <a:prstGeom prst="line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29"/>
          <p:cNvCxnSpPr/>
          <p:nvPr/>
        </p:nvCxnSpPr>
        <p:spPr>
          <a:xfrm>
            <a:off x="596886" y="6180050"/>
            <a:ext cx="2217688" cy="0"/>
          </a:xfrm>
          <a:prstGeom prst="line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30"/>
          <p:cNvCxnSpPr/>
          <p:nvPr/>
        </p:nvCxnSpPr>
        <p:spPr>
          <a:xfrm>
            <a:off x="597461" y="5680683"/>
            <a:ext cx="2217688" cy="0"/>
          </a:xfrm>
          <a:prstGeom prst="line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31"/>
          <p:cNvCxnSpPr/>
          <p:nvPr/>
        </p:nvCxnSpPr>
        <p:spPr>
          <a:xfrm>
            <a:off x="3577904" y="5973568"/>
            <a:ext cx="2217688" cy="0"/>
          </a:xfrm>
          <a:prstGeom prst="line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9" name="Picture 4" descr="Image result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49041" y="4758930"/>
            <a:ext cx="551442" cy="538795"/>
          </a:xfrm>
          <a:prstGeom prst="rect">
            <a:avLst/>
          </a:prstGeom>
          <a:noFill/>
        </p:spPr>
      </p:pic>
      <p:pic>
        <p:nvPicPr>
          <p:cNvPr id="170" name="Picture 4" descr="Image result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60852" y="3563660"/>
            <a:ext cx="551442" cy="568742"/>
          </a:xfrm>
          <a:prstGeom prst="rect">
            <a:avLst/>
          </a:prstGeom>
          <a:noFill/>
        </p:spPr>
      </p:pic>
      <p:sp>
        <p:nvSpPr>
          <p:cNvPr id="171" name="Прямоугольник 170"/>
          <p:cNvSpPr/>
          <p:nvPr/>
        </p:nvSpPr>
        <p:spPr>
          <a:xfrm>
            <a:off x="0" y="0"/>
            <a:ext cx="9144000" cy="88710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2800" b="1" cap="all" dirty="0" smtClean="0">
                <a:latin typeface="Arial" pitchFamily="34" charset="0"/>
                <a:cs typeface="Arial" pitchFamily="34" charset="0"/>
              </a:rPr>
              <a:t>Қазақстан Республикасындағы уран өндірісі</a:t>
            </a:r>
            <a:endParaRPr lang="ru-RU" sz="2800" b="1" cap="all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90" name="Диаграмма 18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644725172"/>
              </p:ext>
            </p:extLst>
          </p:nvPr>
        </p:nvGraphicFramePr>
        <p:xfrm>
          <a:off x="126332" y="887104"/>
          <a:ext cx="8882999" cy="2626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</p:spTree>
    <p:extLst>
      <p:ext uri="{BB962C8B-B14F-4D97-AF65-F5344CB8AC3E}">
        <p14:creationId xmlns:p14="http://schemas.microsoft.com/office/powerpoint/2010/main" xmlns="" val="1483312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-1" y="6562666"/>
            <a:ext cx="9144000" cy="295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400" dirty="0" smtClean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175231" y="6602611"/>
            <a:ext cx="250043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 kern="0" dirty="0" smtClean="0">
                <a:solidFill>
                  <a:prstClr val="black"/>
                </a:solidFill>
              </a:rPr>
              <a:t>Sources</a:t>
            </a:r>
            <a:r>
              <a:rPr lang="ru-RU" sz="800" kern="0" dirty="0" smtClean="0">
                <a:solidFill>
                  <a:prstClr val="black"/>
                </a:solidFill>
              </a:rPr>
              <a:t>: </a:t>
            </a:r>
            <a:r>
              <a:rPr lang="en-US" sz="800" kern="0" dirty="0" err="1" smtClean="0">
                <a:solidFill>
                  <a:prstClr val="black"/>
                </a:solidFill>
              </a:rPr>
              <a:t>UxC</a:t>
            </a:r>
            <a:r>
              <a:rPr lang="en-US" sz="800" kern="0" dirty="0" smtClean="0">
                <a:solidFill>
                  <a:prstClr val="black"/>
                </a:solidFill>
              </a:rPr>
              <a:t> UMO Q4 2016.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0"/>
            <a:ext cx="9144000" cy="88710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2800" b="1" cap="all" dirty="0" smtClean="0">
                <a:latin typeface="Arial" pitchFamily="34" charset="0"/>
                <a:cs typeface="Arial" pitchFamily="34" charset="0"/>
              </a:rPr>
              <a:t>Табиғи уран нарығы</a:t>
            </a:r>
            <a:endParaRPr lang="ru-RU" sz="2800" b="1" cap="all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78278" y="1433018"/>
            <a:ext cx="5854135" cy="235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Группа 6"/>
          <p:cNvGrpSpPr/>
          <p:nvPr/>
        </p:nvGrpSpPr>
        <p:grpSpPr>
          <a:xfrm>
            <a:off x="4432476" y="3675712"/>
            <a:ext cx="4448204" cy="2897108"/>
            <a:chOff x="201487" y="747694"/>
            <a:chExt cx="5930939" cy="4142003"/>
          </a:xfrm>
        </p:grpSpPr>
        <p:graphicFrame>
          <p:nvGraphicFramePr>
            <p:cNvPr id="32" name="Диаграмма 31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xmlns="" val="1365665267"/>
                </p:ext>
              </p:extLst>
            </p:nvPr>
          </p:nvGraphicFramePr>
          <p:xfrm>
            <a:off x="272143" y="1732929"/>
            <a:ext cx="5856514" cy="31567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" name="Прямоугольник 4"/>
            <p:cNvSpPr/>
            <p:nvPr/>
          </p:nvSpPr>
          <p:spPr>
            <a:xfrm>
              <a:off x="201487" y="1381796"/>
              <a:ext cx="893835" cy="422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 Narrow" panose="020B0606020202030204" pitchFamily="34" charset="0"/>
                </a:rPr>
                <a:t>тонн </a:t>
              </a:r>
              <a:r>
                <a:rPr lang="en-US" sz="1400" b="1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 Narrow" panose="020B0606020202030204" pitchFamily="34" charset="0"/>
                </a:rPr>
                <a:t>U</a:t>
              </a:r>
              <a:endParaRPr lang="ru-RU" sz="1400" dirty="0"/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201487" y="747694"/>
              <a:ext cx="5930939" cy="7190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 sz="1600" b="1" i="0" u="sng" strike="noStrike" kern="1200" baseline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r>
                <a:rPr lang="ru-RU" sz="1400" b="1" u="sng" dirty="0" err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ранға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u="sng" dirty="0" err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ген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u="sng" dirty="0" err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сыныс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пен </a:t>
              </a:r>
              <a:r>
                <a:rPr lang="ru-RU" sz="1400" b="1" u="sng" dirty="0" err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ұраныс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u="sng" dirty="0" err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инамикасы</a:t>
              </a:r>
              <a:endParaRPr lang="ru-RU" sz="1400" b="1" u="sng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defRPr sz="1600" b="1" i="0" u="sng" strike="noStrike" kern="1200" baseline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r>
                <a:rPr lang="en-US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1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r>
                <a:rPr lang="en-US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20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 </a:t>
              </a:r>
              <a:r>
                <a:rPr lang="ru-RU" sz="1400" b="1" u="sng" dirty="0" err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ж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, тонна </a:t>
              </a:r>
              <a:r>
                <a:rPr lang="en-US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</a:t>
              </a:r>
              <a:endParaRPr lang="en-US" sz="1400" b="1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81755" y="3639131"/>
            <a:ext cx="4240458" cy="2988119"/>
            <a:chOff x="6095998" y="663971"/>
            <a:chExt cx="5882544" cy="4225728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6095998" y="1410615"/>
              <a:ext cx="5882544" cy="3479084"/>
              <a:chOff x="97971" y="766740"/>
              <a:chExt cx="3145971" cy="3557381"/>
            </a:xfrm>
          </p:grpSpPr>
          <p:graphicFrame>
            <p:nvGraphicFramePr>
              <p:cNvPr id="12" name="Диаграмма 11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xmlns="" val="1576543257"/>
                  </p:ext>
                </p:extLst>
              </p:nvPr>
            </p:nvGraphicFramePr>
            <p:xfrm>
              <a:off x="97971" y="766740"/>
              <a:ext cx="3145971" cy="355738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13" name="Прямоугольник 12"/>
              <p:cNvSpPr/>
              <p:nvPr/>
            </p:nvSpPr>
            <p:spPr>
              <a:xfrm>
                <a:off x="618881" y="1071105"/>
                <a:ext cx="1868118" cy="858707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ru-RU" sz="1200" b="1" dirty="0" smtClean="0">
                    <a:solidFill>
                      <a:srgbClr val="C00000"/>
                    </a:solidFill>
                    <a:latin typeface="Arial Narrow" panose="020B0606020202030204" pitchFamily="34" charset="0"/>
                  </a:rPr>
                  <a:t>2016 </a:t>
                </a:r>
                <a:r>
                  <a:rPr lang="ru-RU" sz="1200" b="1" dirty="0">
                    <a:solidFill>
                      <a:srgbClr val="C00000"/>
                    </a:solidFill>
                    <a:latin typeface="Arial Narrow" panose="020B0606020202030204" pitchFamily="34" charset="0"/>
                  </a:rPr>
                  <a:t>ж</a:t>
                </a:r>
                <a:r>
                  <a:rPr lang="ru-RU" sz="1200" b="1" dirty="0" smtClean="0">
                    <a:solidFill>
                      <a:srgbClr val="C00000"/>
                    </a:solidFill>
                    <a:latin typeface="Arial Narrow" panose="020B0606020202030204" pitchFamily="34" charset="0"/>
                  </a:rPr>
                  <a:t>. </a:t>
                </a:r>
                <a:r>
                  <a:rPr lang="ru-RU" sz="1200" b="1" dirty="0" err="1" smtClean="0">
                    <a:solidFill>
                      <a:srgbClr val="C00000"/>
                    </a:solidFill>
                    <a:latin typeface="Arial Narrow" panose="020B0606020202030204" pitchFamily="34" charset="0"/>
                  </a:rPr>
                  <a:t>бағаның</a:t>
                </a:r>
                <a:r>
                  <a:rPr lang="ru-RU" sz="1200" b="1" dirty="0" smtClean="0">
                    <a:solidFill>
                      <a:srgbClr val="C00000"/>
                    </a:solidFill>
                    <a:latin typeface="Arial Narrow" panose="020B0606020202030204" pitchFamily="34" charset="0"/>
                  </a:rPr>
                  <a:t> </a:t>
                </a:r>
              </a:p>
              <a:p>
                <a:pPr algn="r"/>
                <a:r>
                  <a:rPr lang="ru-RU" sz="1200" b="1" dirty="0" err="1" smtClean="0">
                    <a:solidFill>
                      <a:srgbClr val="C00000"/>
                    </a:solidFill>
                    <a:latin typeface="Arial Narrow" panose="020B0606020202030204" pitchFamily="34" charset="0"/>
                  </a:rPr>
                  <a:t>құлдырауы</a:t>
                </a:r>
                <a:endParaRPr lang="ru-RU" sz="1200" b="1" dirty="0">
                  <a:solidFill>
                    <a:srgbClr val="C00000"/>
                  </a:solidFill>
                  <a:latin typeface="Arial Narrow" panose="020B0606020202030204" pitchFamily="34" charset="0"/>
                </a:endParaRPr>
              </a:p>
              <a:p>
                <a:pPr algn="r"/>
                <a:r>
                  <a:rPr lang="ru-RU" b="1" dirty="0">
                    <a:solidFill>
                      <a:srgbClr val="C00000"/>
                    </a:solidFill>
                    <a:latin typeface="Arial Narrow" panose="020B0606020202030204" pitchFamily="34" charset="0"/>
                  </a:rPr>
                  <a:t>- 40%</a:t>
                </a:r>
              </a:p>
            </p:txBody>
          </p:sp>
          <p:sp>
            <p:nvSpPr>
              <p:cNvPr id="14" name="Стрелка вправо 13"/>
              <p:cNvSpPr/>
              <p:nvPr/>
            </p:nvSpPr>
            <p:spPr>
              <a:xfrm rot="5400000">
                <a:off x="2137912" y="1448430"/>
                <a:ext cx="802231" cy="104058"/>
              </a:xfrm>
              <a:prstGeom prst="rightArrow">
                <a:avLst/>
              </a:prstGeom>
              <a:gradFill>
                <a:gsLst>
                  <a:gs pos="43000">
                    <a:srgbClr val="C00000"/>
                  </a:gs>
                  <a:gs pos="100000">
                    <a:srgbClr val="FF0000"/>
                  </a:gs>
                </a:gsLst>
                <a:lin ang="5400000" scaled="1"/>
              </a:gra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0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6" name="Прямоугольник 5"/>
            <p:cNvSpPr/>
            <p:nvPr/>
          </p:nvSpPr>
          <p:spPr>
            <a:xfrm>
              <a:off x="6622014" y="663971"/>
              <a:ext cx="4683138" cy="73992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 sz="1600" b="1" i="0" u="sng" strike="noStrike" kern="1200" baseline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r>
                <a:rPr lang="ru-RU" sz="1400" b="1" u="sng" dirty="0" err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ранның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u="sng" dirty="0" err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лемдік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u="sng" dirty="0" err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ға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u="sng" dirty="0" err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инамикасы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>
                <a:defRPr sz="1600" b="1" i="0" u="sng" strike="noStrike" kern="1200" baseline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r>
                <a:rPr lang="en-US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11-2016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u="sng" dirty="0" err="1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ж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, </a:t>
              </a:r>
              <a:r>
                <a:rPr lang="en-US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$/</a:t>
              </a:r>
              <a:r>
                <a:rPr lang="ru-RU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унт </a:t>
              </a:r>
              <a:r>
                <a:rPr lang="en-US" sz="1400" b="1" u="sng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3O8</a:t>
              </a:r>
              <a:endParaRPr lang="en-US" sz="1400" b="1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1" name="Рисунок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48867" y="1591796"/>
            <a:ext cx="703757" cy="703757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2183935" y="975655"/>
            <a:ext cx="47436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600" b="1" i="0" u="sng" strike="noStrike" kern="1200" baseline="0">
                <a:solidFill>
                  <a:prstClr val="black">
                    <a:lumMod val="85000"/>
                    <a:lumOff val="15000"/>
                  </a:prst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1600" b="1" u="sng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Arial Narrow" panose="020B0606020202030204" pitchFamily="34" charset="0"/>
              </a:rPr>
              <a:t>2016 </a:t>
            </a:r>
            <a:r>
              <a:rPr lang="ru-RU" sz="1600" b="1" u="sng" dirty="0" err="1" smtClean="0">
                <a:solidFill>
                  <a:prstClr val="black">
                    <a:lumMod val="85000"/>
                    <a:lumOff val="15000"/>
                  </a:prstClr>
                </a:solidFill>
                <a:latin typeface="Arial Narrow" panose="020B0606020202030204" pitchFamily="34" charset="0"/>
              </a:rPr>
              <a:t>жыл</a:t>
            </a:r>
            <a:r>
              <a:rPr lang="ru-RU" sz="1600" b="1" u="sng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u="sng" dirty="0" err="1" smtClean="0">
                <a:solidFill>
                  <a:prstClr val="black">
                    <a:lumMod val="85000"/>
                    <a:lumOff val="15000"/>
                  </a:prstClr>
                </a:solidFill>
                <a:latin typeface="Arial Narrow" panose="020B0606020202030204" pitchFamily="34" charset="0"/>
              </a:rPr>
              <a:t>бойынша</a:t>
            </a:r>
            <a:r>
              <a:rPr lang="ru-RU" sz="1600" b="1" u="sng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u="sng" dirty="0" err="1" smtClean="0">
                <a:solidFill>
                  <a:prstClr val="black">
                    <a:lumMod val="85000"/>
                    <a:lumOff val="15000"/>
                  </a:prstClr>
                </a:solidFill>
                <a:latin typeface="Arial Narrow" panose="020B0606020202030204" pitchFamily="34" charset="0"/>
              </a:rPr>
              <a:t>әлемдік</a:t>
            </a:r>
            <a:r>
              <a:rPr lang="ru-RU" sz="1600" b="1" u="sng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Arial Narrow" panose="020B0606020202030204" pitchFamily="34" charset="0"/>
              </a:rPr>
              <a:t> уран </a:t>
            </a:r>
            <a:r>
              <a:rPr lang="ru-RU" sz="1600" b="1" u="sng" dirty="0" err="1" smtClean="0">
                <a:solidFill>
                  <a:prstClr val="black">
                    <a:lumMod val="85000"/>
                    <a:lumOff val="15000"/>
                  </a:prstClr>
                </a:solidFill>
                <a:latin typeface="Arial Narrow" panose="020B0606020202030204" pitchFamily="34" charset="0"/>
              </a:rPr>
              <a:t>өндірісі</a:t>
            </a:r>
            <a:r>
              <a:rPr lang="ru-RU" sz="1600" b="1" u="sng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Arial Narrow" panose="020B0606020202030204" pitchFamily="34" charset="0"/>
              </a:rPr>
              <a:t>, тонна </a:t>
            </a:r>
            <a:r>
              <a:rPr lang="ru-RU" sz="1600" b="1" u="sng" dirty="0">
                <a:solidFill>
                  <a:prstClr val="black">
                    <a:lumMod val="85000"/>
                    <a:lumOff val="15000"/>
                  </a:prstClr>
                </a:solidFill>
                <a:latin typeface="Arial Narrow" panose="020B0606020202030204" pitchFamily="34" charset="0"/>
              </a:rPr>
              <a:t>U (%)</a:t>
            </a:r>
            <a:endParaRPr lang="en-US" sz="1600" b="1" u="sng" dirty="0">
              <a:solidFill>
                <a:prstClr val="black">
                  <a:lumMod val="85000"/>
                  <a:lumOff val="15000"/>
                </a:prstClr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432413" y="6238875"/>
            <a:ext cx="530487" cy="238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5432163" y="6256803"/>
            <a:ext cx="530487" cy="238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3176944" y="6315016"/>
            <a:ext cx="530487" cy="238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690919" y="6257317"/>
            <a:ext cx="530487" cy="238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93310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0" y="6568066"/>
            <a:ext cx="9144000" cy="2953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400" dirty="0" smtClean="0">
              <a:solidFill>
                <a:prstClr val="white">
                  <a:lumMod val="95000"/>
                </a:prst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887104"/>
            <a:ext cx="7071360" cy="5664756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7071360" y="887104"/>
            <a:ext cx="2072640" cy="563231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endParaRPr lang="ru-RU" sz="2400" dirty="0">
              <a:solidFill>
                <a:schemeClr val="accent1">
                  <a:lumMod val="20000"/>
                  <a:lumOff val="80000"/>
                </a:schemeClr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400" b="1" dirty="0" smtClean="0">
                <a:latin typeface="Arial Narrow" panose="020B0606020202030204" pitchFamily="34" charset="0"/>
              </a:rPr>
              <a:t>Казахстан 1-ая </a:t>
            </a:r>
            <a:r>
              <a:rPr lang="ru-RU" sz="2400" b="1" dirty="0">
                <a:latin typeface="Arial Narrow" panose="020B0606020202030204" pitchFamily="34" charset="0"/>
              </a:rPr>
              <a:t>в мире </a:t>
            </a:r>
            <a:r>
              <a:rPr lang="ru-RU" sz="2400" b="1" dirty="0" smtClean="0">
                <a:latin typeface="Arial Narrow" panose="020B0606020202030204" pitchFamily="34" charset="0"/>
              </a:rPr>
              <a:t>страна</a:t>
            </a:r>
            <a:r>
              <a:rPr lang="ru-RU" sz="2400" dirty="0" smtClean="0">
                <a:latin typeface="Arial Narrow" panose="020B0606020202030204" pitchFamily="34" charset="0"/>
              </a:rPr>
              <a:t>, </a:t>
            </a:r>
            <a:r>
              <a:rPr lang="ru-RU" sz="2400" dirty="0">
                <a:latin typeface="Arial Narrow" panose="020B0606020202030204" pitchFamily="34" charset="0"/>
              </a:rPr>
              <a:t>запустившая в промышленное производство рудник на основе метода подземного выщелачивания мощностью 1000 тонн урана в год</a:t>
            </a:r>
            <a:r>
              <a:rPr lang="ru-RU" sz="2400" dirty="0" smtClean="0">
                <a:latin typeface="Arial Narrow" panose="020B0606020202030204" pitchFamily="34" charset="0"/>
              </a:rPr>
              <a:t>.</a:t>
            </a:r>
            <a:endParaRPr lang="ru-RU" sz="2400" dirty="0">
              <a:latin typeface="Arial Narrow" panose="020B0606020202030204" pitchFamily="34" charset="0"/>
            </a:endParaRPr>
          </a:p>
          <a:p>
            <a:pPr algn="ctr"/>
            <a:endParaRPr lang="ru-RU" sz="2400" dirty="0" smtClean="0">
              <a:latin typeface="Arial Narrow" panose="020B0606020202030204" pitchFamily="34" charset="0"/>
            </a:endParaRPr>
          </a:p>
          <a:p>
            <a:pPr algn="ctr"/>
            <a:r>
              <a:rPr lang="ru-RU" sz="2400" dirty="0" smtClean="0">
                <a:latin typeface="Arial Narrow" panose="020B0606020202030204" pitchFamily="34" charset="0"/>
              </a:rPr>
              <a:t> </a:t>
            </a:r>
            <a:endParaRPr lang="ru-RU" sz="2400" dirty="0">
              <a:latin typeface="Arial Narrow" panose="020B0606020202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0"/>
            <a:ext cx="9144000" cy="88710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cap="all" dirty="0">
                <a:latin typeface="Arial" pitchFamily="34" charset="0"/>
                <a:cs typeface="Arial" pitchFamily="34" charset="0"/>
              </a:rPr>
              <a:t>Экологически чистый способ добычи урана</a:t>
            </a:r>
          </a:p>
        </p:txBody>
      </p:sp>
    </p:spTree>
    <p:extLst>
      <p:ext uri="{BB962C8B-B14F-4D97-AF65-F5344CB8AC3E}">
        <p14:creationId xmlns:p14="http://schemas.microsoft.com/office/powerpoint/2010/main" xmlns="" val="2234176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0" y="6565103"/>
            <a:ext cx="9144000" cy="295334"/>
          </a:xfrm>
          <a:prstGeom prst="rect">
            <a:avLst/>
          </a:prstGeom>
          <a:solidFill>
            <a:schemeClr val="accent1">
              <a:lumMod val="40000"/>
              <a:lumOff val="6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400" dirty="0" smtClean="0">
              <a:solidFill>
                <a:schemeClr val="bg1">
                  <a:lumMod val="95000"/>
                </a:schemeClr>
              </a:solidFill>
            </a:endParaRPr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73523866"/>
              </p:ext>
            </p:extLst>
          </p:nvPr>
        </p:nvGraphicFramePr>
        <p:xfrm>
          <a:off x="0" y="1083324"/>
          <a:ext cx="9143999" cy="2057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0" y="0"/>
            <a:ext cx="9144000" cy="88710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latin typeface="Arial" pitchFamily="34" charset="0"/>
                <a:cs typeface="Arial" pitchFamily="34" charset="0"/>
              </a:rPr>
              <a:t>ВОСПОЛНЕНИЕ МИНЕРАЛЬНО-СЫРЬЕВОЙ БАЗЫ</a:t>
            </a: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08441188"/>
              </p:ext>
            </p:extLst>
          </p:nvPr>
        </p:nvGraphicFramePr>
        <p:xfrm>
          <a:off x="88900" y="3386667"/>
          <a:ext cx="8959850" cy="3178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848261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9144000" cy="88710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cap="all" dirty="0">
                <a:latin typeface="Arial" pitchFamily="34" charset="0"/>
                <a:cs typeface="Arial" pitchFamily="34" charset="0"/>
              </a:rPr>
              <a:t>Занятость в урановой промышленности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43600" y="1495426"/>
            <a:ext cx="810565" cy="789961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6846803" y="1902450"/>
            <a:ext cx="7825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016 г.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616965" y="1517678"/>
            <a:ext cx="131478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6 </a:t>
            </a:r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527 чел.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60820" y="2253628"/>
            <a:ext cx="24474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7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остранных работников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79" t="20508" r="5988" b="23011"/>
          <a:stretch/>
        </p:blipFill>
        <p:spPr>
          <a:xfrm rot="1269640">
            <a:off x="6079683" y="1728405"/>
            <a:ext cx="350486" cy="307230"/>
          </a:xfrm>
          <a:prstGeom prst="rect">
            <a:avLst/>
          </a:prstGeom>
        </p:spPr>
      </p:pic>
      <p:grpSp>
        <p:nvGrpSpPr>
          <p:cNvPr id="17" name="Группа 16"/>
          <p:cNvGrpSpPr/>
          <p:nvPr/>
        </p:nvGrpSpPr>
        <p:grpSpPr>
          <a:xfrm>
            <a:off x="109364" y="1195125"/>
            <a:ext cx="3205286" cy="1558458"/>
            <a:chOff x="468595" y="1169949"/>
            <a:chExt cx="4273715" cy="1558458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468596" y="1220302"/>
              <a:ext cx="4273714" cy="15081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dirty="0">
                  <a:latin typeface="Arial Narrow" panose="020B0606020202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В результате проведенной работы по оптимизации штата и реструктуризации активов общая численность работников снизилась на </a:t>
              </a:r>
              <a:r>
                <a:rPr lang="ru-RU" b="1" dirty="0" smtClean="0">
                  <a:solidFill>
                    <a:srgbClr val="C00000"/>
                  </a:solidFill>
                  <a:latin typeface="Arial Narrow" panose="020B0606020202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 </a:t>
              </a:r>
              <a:r>
                <a:rPr lang="ru-RU" sz="2000" b="1" dirty="0">
                  <a:solidFill>
                    <a:srgbClr val="C00000"/>
                  </a:solidFill>
                  <a:latin typeface="Arial Narrow" panose="020B0606020202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605 человек</a:t>
              </a:r>
              <a:r>
                <a:rPr lang="ru-RU" sz="2000" dirty="0" smtClean="0">
                  <a:latin typeface="Arial Narrow" panose="020B0606020202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:</a:t>
              </a:r>
              <a:endParaRPr lang="ru-RU" sz="2000" dirty="0">
                <a:effectLst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468595" y="1169949"/>
              <a:ext cx="4273714" cy="1547646"/>
            </a:xfrm>
            <a:prstGeom prst="roundRect">
              <a:avLst/>
            </a:prstGeom>
            <a:noFill/>
            <a:ln w="28575"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000" b="1" dirty="0">
                <a:solidFill>
                  <a:srgbClr val="C00000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3497580" y="1169949"/>
            <a:ext cx="2567940" cy="1547646"/>
            <a:chOff x="5553093" y="1158482"/>
            <a:chExt cx="3423920" cy="1547646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6148060" y="2057495"/>
              <a:ext cx="11139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dirty="0">
                  <a:latin typeface="Arial Narrow" panose="020B0606020202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014 г. </a:t>
              </a:r>
              <a:endParaRPr lang="ru-RU" dirty="0">
                <a:latin typeface="Arial Narrow" panose="020B0606020202030204" pitchFamily="34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5624845" y="1508243"/>
              <a:ext cx="2065096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2400" b="1" dirty="0">
                  <a:solidFill>
                    <a:srgbClr val="C00000"/>
                  </a:solidFill>
                  <a:latin typeface="Arial Narrow" panose="020B0606020202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28 </a:t>
              </a:r>
              <a:r>
                <a:rPr lang="ru-RU" sz="2400" b="1" dirty="0" smtClean="0">
                  <a:solidFill>
                    <a:srgbClr val="C00000"/>
                  </a:solidFill>
                  <a:latin typeface="Arial Narrow" panose="020B0606020202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132 чел.</a:t>
              </a:r>
              <a:endParaRPr lang="ru-RU" sz="2400" b="1" dirty="0">
                <a:solidFill>
                  <a:srgbClr val="C00000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540726" y="1420852"/>
              <a:ext cx="1243763" cy="908505"/>
            </a:xfrm>
            <a:prstGeom prst="rect">
              <a:avLst/>
            </a:prstGeom>
          </p:spPr>
        </p:pic>
        <p:sp>
          <p:nvSpPr>
            <p:cNvPr id="15" name="Скругленный прямоугольник 14"/>
            <p:cNvSpPr/>
            <p:nvPr/>
          </p:nvSpPr>
          <p:spPr>
            <a:xfrm>
              <a:off x="5553093" y="1158482"/>
              <a:ext cx="3423920" cy="1547646"/>
            </a:xfrm>
            <a:prstGeom prst="round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000" b="1" dirty="0">
                <a:solidFill>
                  <a:srgbClr val="C00000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8" name="Скругленный прямоугольник 17"/>
          <p:cNvSpPr/>
          <p:nvPr/>
        </p:nvSpPr>
        <p:spPr>
          <a:xfrm>
            <a:off x="6456218" y="1209937"/>
            <a:ext cx="2552051" cy="1547646"/>
          </a:xfrm>
          <a:prstGeom prst="roundRect">
            <a:avLst/>
          </a:prstGeom>
          <a:noFill/>
          <a:ln w="28575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000" b="1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493043" y="3091521"/>
            <a:ext cx="740380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целях повышения кадрового потенциала </a:t>
            </a:r>
            <a:r>
              <a:rPr lang="ru-RU" sz="20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2000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016 г. были достигнуты следующие результаты: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89281" y="4507797"/>
            <a:ext cx="162952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6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прошли </a:t>
            </a:r>
            <a:r>
              <a:rPr lang="ru-RU" sz="1600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учение и повысили квалификацию </a:t>
            </a:r>
            <a:r>
              <a:rPr lang="ru-RU" sz="16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1600" b="1" dirty="0" smtClean="0">
                <a:solidFill>
                  <a:srgbClr val="C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5 </a:t>
            </a:r>
            <a:r>
              <a:rPr lang="ru-RU" sz="1600" b="1" dirty="0">
                <a:solidFill>
                  <a:srgbClr val="C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868 </a:t>
            </a:r>
            <a:r>
              <a:rPr lang="ru-RU" sz="1600" b="1" dirty="0" smtClean="0">
                <a:solidFill>
                  <a:srgbClr val="C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ботников</a:t>
            </a:r>
            <a:endParaRPr lang="ru-RU" sz="1600" dirty="0">
              <a:solidFill>
                <a:srgbClr val="C00000"/>
              </a:solidFill>
              <a:effectLst/>
              <a:latin typeface="Arial Narrow" panose="020B0606020202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260068" y="4506561"/>
            <a:ext cx="2264870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6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 </a:t>
            </a:r>
            <a:r>
              <a:rPr lang="ru-RU" sz="1600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чет средств </a:t>
            </a:r>
            <a:r>
              <a:rPr lang="ru-RU" sz="1600" dirty="0" err="1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дропользователей</a:t>
            </a:r>
            <a:r>
              <a:rPr lang="ru-RU" sz="16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узах </a:t>
            </a:r>
            <a:r>
              <a:rPr lang="ru-RU" sz="1600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 колледжах </a:t>
            </a:r>
            <a:r>
              <a:rPr lang="ru-RU" sz="16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600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фильным для отрасли </a:t>
            </a:r>
            <a:r>
              <a:rPr lang="ru-RU" sz="16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пециальностям и профессиям обучаются </a:t>
            </a:r>
            <a:r>
              <a:rPr lang="ru-RU" sz="1600" b="1" dirty="0">
                <a:solidFill>
                  <a:srgbClr val="C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20 </a:t>
            </a:r>
            <a:r>
              <a:rPr lang="ru-RU" sz="1600" b="1" dirty="0" smtClean="0">
                <a:solidFill>
                  <a:srgbClr val="C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удентов</a:t>
            </a:r>
            <a:endParaRPr lang="ru-RU" sz="1600" b="1" dirty="0">
              <a:solidFill>
                <a:srgbClr val="C00000"/>
              </a:solidFill>
              <a:effectLst/>
              <a:latin typeface="Arial Narrow" panose="020B0606020202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776114" y="4507798"/>
            <a:ext cx="185577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5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500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5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500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мках подготовки персонала предприятия </a:t>
            </a:r>
            <a:r>
              <a:rPr lang="ru-RU" sz="15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едется сотрудничество </a:t>
            </a:r>
            <a:r>
              <a:rPr lang="ru-RU" sz="1500" b="1" dirty="0">
                <a:solidFill>
                  <a:srgbClr val="C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 25 вузами и 11 колледжами </a:t>
            </a:r>
            <a:r>
              <a:rPr lang="ru-RU" sz="1500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спублики Казахстан и ближнего зарубежь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883061" y="4506561"/>
            <a:ext cx="1662225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6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 получено </a:t>
            </a:r>
            <a:r>
              <a:rPr lang="ru-RU" sz="1600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решение для </a:t>
            </a:r>
            <a:r>
              <a:rPr lang="ru-RU" sz="16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тажировки </a:t>
            </a:r>
            <a:r>
              <a:rPr lang="en-US" sz="16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r>
              <a:rPr lang="ru-RU" sz="1600" b="1" dirty="0" smtClean="0">
                <a:solidFill>
                  <a:srgbClr val="C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9 человек </a:t>
            </a:r>
            <a:r>
              <a:rPr lang="ru-RU" sz="16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600" dirty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изводственных объектах международной </a:t>
            </a:r>
            <a:r>
              <a:rPr lang="ru-RU" sz="1600" dirty="0" smtClean="0"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мпании </a:t>
            </a:r>
            <a:r>
              <a:rPr lang="ru-RU" sz="1600" b="1" dirty="0" smtClean="0">
                <a:solidFill>
                  <a:srgbClr val="C00000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REVA</a:t>
            </a:r>
            <a:endParaRPr lang="ru-RU" sz="1600" b="1" dirty="0">
              <a:solidFill>
                <a:srgbClr val="C00000"/>
              </a:solidFill>
              <a:latin typeface="Arial Narrow" panose="020B0606020202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1704" y="2961341"/>
            <a:ext cx="1066958" cy="1037375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79" t="20508" r="5988" b="23011"/>
          <a:stretch/>
        </p:blipFill>
        <p:spPr>
          <a:xfrm rot="1269640">
            <a:off x="7046017" y="4087649"/>
            <a:ext cx="741966" cy="223111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79" t="20508" r="5988" b="23011"/>
          <a:stretch/>
        </p:blipFill>
        <p:spPr>
          <a:xfrm rot="3269232">
            <a:off x="5370117" y="4138981"/>
            <a:ext cx="463280" cy="230423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79" t="20508" r="5988" b="23011"/>
          <a:stretch/>
        </p:blipFill>
        <p:spPr>
          <a:xfrm rot="18930922" flipH="1" flipV="1">
            <a:off x="3375892" y="4105088"/>
            <a:ext cx="367790" cy="325206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79" t="20508" r="5988" b="23011"/>
          <a:stretch/>
        </p:blipFill>
        <p:spPr>
          <a:xfrm rot="20371617" flipH="1" flipV="1">
            <a:off x="1432922" y="4100034"/>
            <a:ext cx="771779" cy="252354"/>
          </a:xfrm>
          <a:prstGeom prst="rect">
            <a:avLst/>
          </a:prstGeom>
        </p:spPr>
      </p:pic>
      <p:sp>
        <p:nvSpPr>
          <p:cNvPr id="29" name="Скругленный прямоугольник 28"/>
          <p:cNvSpPr/>
          <p:nvPr/>
        </p:nvSpPr>
        <p:spPr>
          <a:xfrm>
            <a:off x="1686582" y="3091520"/>
            <a:ext cx="7047950" cy="881511"/>
          </a:xfrm>
          <a:prstGeom prst="roundRect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000" b="1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230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xmlns="" val="3202890776"/>
              </p:ext>
            </p:extLst>
          </p:nvPr>
        </p:nvGraphicFramePr>
        <p:xfrm>
          <a:off x="0" y="1081022"/>
          <a:ext cx="9029700" cy="5503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0"/>
            <a:ext cx="9144000" cy="88710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800" b="1" cap="all" dirty="0">
                <a:latin typeface="Arial" pitchFamily="34" charset="0"/>
                <a:cs typeface="Arial" pitchFamily="34" charset="0"/>
              </a:rPr>
              <a:t>Научно-технический потенциал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79449" y="1329626"/>
            <a:ext cx="109475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Мобильный комплекс для освоения месторождений </a:t>
            </a: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34361" y="1055858"/>
            <a:ext cx="935594" cy="748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4" descr="http://www.iht.kz/images/log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47098" y="1080781"/>
            <a:ext cx="895748" cy="796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91181" y="5919942"/>
            <a:ext cx="684426" cy="731613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55220" y="5831799"/>
            <a:ext cx="752010" cy="816999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6789780" y="4231983"/>
            <a:ext cx="14750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Высокоскоростная </a:t>
            </a:r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сорбция </a:t>
            </a:r>
            <a:endParaRPr lang="ru-RU" sz="1200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897415" y="3644279"/>
            <a:ext cx="12885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Передвижная установка для проведения химической обработки скважин</a:t>
            </a:r>
            <a:endParaRPr lang="ru-RU" sz="1200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7201220" y="1137108"/>
            <a:ext cx="1086977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100" b="1" dirty="0">
                <a:solidFill>
                  <a:prstClr val="black"/>
                </a:solidFill>
                <a:latin typeface="Arial Narrow" panose="020B0606020202030204" pitchFamily="34" charset="0"/>
              </a:rPr>
              <a:t>Оптимизации потоков технологических растворов с модернизацией системы «Рудник»</a:t>
            </a:r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/>
            </a:r>
            <a:b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</a:br>
            <a:endParaRPr lang="ru-RU" sz="12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897415" y="4874258"/>
            <a:ext cx="146263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Технология </a:t>
            </a:r>
            <a:r>
              <a:rPr lang="ru-RU" sz="1400" b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пероксидного</a:t>
            </a:r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 осаждения</a:t>
            </a:r>
            <a:endParaRPr lang="ru-RU" sz="1400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6964680" y="5046969"/>
            <a:ext cx="132351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Создания производства уран-бериллиевого и коммерциализация уран-</a:t>
            </a:r>
            <a:r>
              <a:rPr lang="ru-RU" sz="1200" b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гадолиниевого</a:t>
            </a:r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 топлива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6858000" y="2658298"/>
            <a:ext cx="140685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Производство имплантатов и сверхпроводящего провода для </a:t>
            </a:r>
            <a:r>
              <a:rPr lang="ru-RU" sz="14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медицины</a:t>
            </a:r>
            <a:endParaRPr lang="ru-RU" sz="1400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897416" y="6036549"/>
            <a:ext cx="11767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Производство магнитов из </a:t>
            </a:r>
            <a:r>
              <a:rPr lang="ru-RU" sz="12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РЗМ</a:t>
            </a:r>
            <a:endParaRPr lang="ru-RU" sz="1200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922627" y="2644528"/>
            <a:ext cx="13471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Развитие</a:t>
            </a:r>
          </a:p>
          <a:p>
            <a:r>
              <a:rPr 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3</a:t>
            </a:r>
            <a:r>
              <a:rPr lang="en-US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D-</a:t>
            </a:r>
            <a:r>
              <a:rPr 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технологий </a:t>
            </a: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2600" y="1351411"/>
            <a:ext cx="866849" cy="81710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2157" y="2612817"/>
            <a:ext cx="747734" cy="648196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885" y="3662641"/>
            <a:ext cx="821531" cy="80460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8227026" y="5340858"/>
            <a:ext cx="916974" cy="84356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55272" y="2571025"/>
            <a:ext cx="832345" cy="1136857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7198" y="4873818"/>
            <a:ext cx="780218" cy="8153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0137" y="6095854"/>
            <a:ext cx="672890" cy="433798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88197" y="1390761"/>
            <a:ext cx="799420" cy="7087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64853" y="4179420"/>
            <a:ext cx="822764" cy="7294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xmlns="" val="2071058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3sUZ5PGU.gKHiA5B3o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k6yaM1U0..NDeSnJME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5ttLj6qUSr6cCl8_XT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hzGZqXEe17I0qu99h9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rCU2ASuUmZQkLWpaaF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XzhEOmvEqfcn9zwyb7.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3sUZ5PGU.gKHiA5B3o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dxKc7ds0ClyR62yhx4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bUJ2XrUmc7f3PFG22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Xge1jAnkW9F4bCaSRn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DsrLbqMkaa0CRV02Zg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dxKc7ds0ClyR62yhx4F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57OYxiWkKGJGtCzOHo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YyvLFG_06cMl4Mg08gz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aGBnRLJUG8lBn7l0_6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SU45ncRUyt_MWnYSpsI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k6yaM1U0..NDeSnJME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5ttLj6qUSr6cCl8_XT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hzGZqXEe17I0qu99h9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rCU2ASuUmZQkLWpaaF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XzhEOmvEqfcn9zwyb7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bUJ2XrUmc7f3PFG22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Xge1jAnkW9F4bCaSRn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DsrLbqMkaa0CRV02Zg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57OYxiWkKGJGtCzOHo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YyvLFG_06cMl4Mg08g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aGBnRLJUG8lBn7l0_6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SU45ncRUyt_MWnYSpsI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rocess 07 16x9">
  <a:themeElements>
    <a:clrScheme name="Composite">
      <a:dk1>
        <a:sysClr val="windowText" lastClr="000000"/>
      </a:dk1>
      <a:lt1>
        <a:sysClr val="window" lastClr="FFFFFF"/>
      </a:lt1>
      <a:dk2>
        <a:srgbClr val="5B6973"/>
      </a:dk2>
      <a:lt2>
        <a:srgbClr val="E7ECED"/>
      </a:lt2>
      <a:accent1>
        <a:srgbClr val="98C723"/>
      </a:accent1>
      <a:accent2>
        <a:srgbClr val="59B0B9"/>
      </a:accent2>
      <a:accent3>
        <a:srgbClr val="DEAE00"/>
      </a:accent3>
      <a:accent4>
        <a:srgbClr val="B77BB4"/>
      </a:accent4>
      <a:accent5>
        <a:srgbClr val="E0773C"/>
      </a:accent5>
      <a:accent6>
        <a:srgbClr val="A98D63"/>
      </a:accent6>
      <a:hlink>
        <a:srgbClr val="26CBEC"/>
      </a:hlink>
      <a:folHlink>
        <a:srgbClr val="598C8C"/>
      </a:folHlink>
    </a:clrScheme>
    <a:fontScheme name="Calibri">
      <a:majorFont>
        <a:latin typeface="Calibri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A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ocess07_16x9_TP102888891" id="{C2C4E288-C826-4F4A-B12A-90AB4EEB5DFA}" vid="{330C257D-3C7B-4178-BB33-C5382355AC13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4398</TotalTime>
  <Words>1473</Words>
  <Application>Microsoft Office PowerPoint</Application>
  <PresentationFormat>Экран (4:3)</PresentationFormat>
  <Paragraphs>297</Paragraphs>
  <Slides>19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3</vt:i4>
      </vt:variant>
      <vt:variant>
        <vt:lpstr>Заголовки слайдов</vt:lpstr>
      </vt:variant>
      <vt:variant>
        <vt:i4>19</vt:i4>
      </vt:variant>
    </vt:vector>
  </HeadingPairs>
  <TitlesOfParts>
    <vt:vector size="22" baseType="lpstr">
      <vt:lpstr>Тема Office</vt:lpstr>
      <vt:lpstr>3_Тема Office</vt:lpstr>
      <vt:lpstr>Process 07 16x9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имжан Аян</dc:creator>
  <cp:lastModifiedBy>User</cp:lastModifiedBy>
  <cp:revision>594</cp:revision>
  <cp:lastPrinted>2017-05-04T12:57:05Z</cp:lastPrinted>
  <dcterms:created xsi:type="dcterms:W3CDTF">2016-01-12T10:59:16Z</dcterms:created>
  <dcterms:modified xsi:type="dcterms:W3CDTF">2017-05-18T04:39:45Z</dcterms:modified>
</cp:coreProperties>
</file>